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5.xml" ContentType="application/vnd.openxmlformats-officedocument.drawingml.diagramLayout+xml"/>
  <Override PartName="/docProps/custom.xml" ContentType="application/vnd.openxmlformats-officedocument.custom-propertie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diagrams/colors5.xml" ContentType="application/vnd.openxmlformats-officedocument.drawingml.diagramColor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rawing5.xml" ContentType="application/vnd.ms-office.drawingml.diagramDrawing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diagrams/colors2.xml" ContentType="application/vnd.openxmlformats-officedocument.drawingml.diagramColors+xml"/>
  <Override PartName="/ppt/diagrams/drawing3.xml" ContentType="application/vnd.ms-office.drawingml.diagramDrawing+xml"/>
  <Default Extension="png" ContentType="image/png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heme/themeOverride2.xml" ContentType="application/vnd.openxmlformats-officedocument.themeOverr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diagrams/layout4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charts/chart6.xml" ContentType="application/vnd.openxmlformats-officedocument.drawingml.chart+xml"/>
  <Override PartName="/ppt/diagrams/data5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7" r:id="rId2"/>
    <p:sldId id="312" r:id="rId3"/>
    <p:sldId id="313" r:id="rId4"/>
    <p:sldId id="319" r:id="rId5"/>
    <p:sldId id="322" r:id="rId6"/>
    <p:sldId id="321" r:id="rId7"/>
    <p:sldId id="323" r:id="rId8"/>
    <p:sldId id="326" r:id="rId9"/>
    <p:sldId id="324" r:id="rId10"/>
    <p:sldId id="325" r:id="rId11"/>
    <p:sldId id="314" r:id="rId12"/>
    <p:sldId id="315" r:id="rId13"/>
    <p:sldId id="317" r:id="rId14"/>
  </p:sldIdLst>
  <p:sldSz cx="8961438" cy="6721475"/>
  <p:notesSz cx="6669088" cy="9928225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0065CC"/>
    <a:srgbClr val="002960"/>
    <a:srgbClr val="88B656"/>
    <a:srgbClr val="385D8A"/>
    <a:srgbClr val="C4E59F"/>
    <a:srgbClr val="DED408"/>
    <a:srgbClr val="91AFFF"/>
    <a:srgbClr val="80808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18" autoAdjust="0"/>
    <p:restoredTop sz="97311" autoAdjust="0"/>
  </p:normalViewPr>
  <p:slideViewPr>
    <p:cSldViewPr snapToGrid="0" snapToObjects="1">
      <p:cViewPr>
        <p:scale>
          <a:sx n="100" d="100"/>
          <a:sy n="100" d="100"/>
        </p:scale>
        <p:origin x="-72" y="-72"/>
      </p:cViewPr>
      <p:guideLst>
        <p:guide orient="horz" pos="3156"/>
        <p:guide orient="horz" pos="1501"/>
        <p:guide orient="horz" pos="4095"/>
        <p:guide pos="21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2" d="100"/>
          <a:sy n="72" d="100"/>
        </p:scale>
        <p:origin x="-2172" y="-120"/>
      </p:cViewPr>
      <p:guideLst>
        <p:guide orient="horz" pos="3127"/>
        <p:guide pos="210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Knyga1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.onaitis\AppData\Local\Microsoft\Windows\Temporary%20Internet%20Files\Content.Outlook\DNBOOTUO\viap_vertimas.xls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.onaitis\Desktop\Pristatymas\nrg_pc_204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.onaitis\Desktop\Pristatymas\nrg_pc_204.xls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.onaitis\AppData\Local\Microsoft\Windows\Temporary%20Internet%20Files\Content.IE5\GLXPU1XX\nrg_pc_205.xls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.onaitis\Desktop\Pristatymas\nrg_pc_205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bar"/>
        <c:grouping val="clustered"/>
        <c:ser>
          <c:idx val="0"/>
          <c:order val="0"/>
          <c:dPt>
            <c:idx val="1"/>
            <c:spPr>
              <a:solidFill>
                <a:srgbClr val="00B050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400" dirty="0"/>
                      <a:t>~1500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400" dirty="0"/>
                      <a:t>~2000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2400"/>
                </a:pPr>
                <a:endParaRPr lang="hu-HU"/>
              </a:p>
            </c:txPr>
            <c:showVal val="1"/>
          </c:dLbls>
          <c:cat>
            <c:strRef>
              <c:f>Lapas1!$B$2:$C$2</c:f>
              <c:strCache>
                <c:ptCount val="2"/>
                <c:pt idx="0">
                  <c:v>2020</c:v>
                </c:pt>
                <c:pt idx="1">
                  <c:v>Biofuel anual 
resources in Lithuania</c:v>
                </c:pt>
              </c:strCache>
            </c:strRef>
          </c:cat>
          <c:val>
            <c:numRef>
              <c:f>Lapas1!$B$3:$C$3</c:f>
              <c:numCache>
                <c:formatCode>General</c:formatCode>
                <c:ptCount val="2"/>
                <c:pt idx="0">
                  <c:v>1500</c:v>
                </c:pt>
                <c:pt idx="1">
                  <c:v>2000</c:v>
                </c:pt>
              </c:numCache>
            </c:numRef>
          </c:val>
        </c:ser>
        <c:dLbls/>
        <c:axId val="57013376"/>
        <c:axId val="57015296"/>
      </c:barChart>
      <c:catAx>
        <c:axId val="57013376"/>
        <c:scaling>
          <c:orientation val="minMax"/>
        </c:scaling>
        <c:axPos val="l"/>
        <c:tickLblPos val="nextTo"/>
        <c:txPr>
          <a:bodyPr/>
          <a:lstStyle/>
          <a:p>
            <a:pPr>
              <a:defRPr sz="1600"/>
            </a:pPr>
            <a:endParaRPr lang="hu-HU"/>
          </a:p>
        </c:txPr>
        <c:crossAx val="57015296"/>
        <c:crosses val="autoZero"/>
        <c:auto val="1"/>
        <c:lblAlgn val="ctr"/>
        <c:lblOffset val="100"/>
      </c:catAx>
      <c:valAx>
        <c:axId val="57015296"/>
        <c:scaling>
          <c:orientation val="minMax"/>
        </c:scaling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0" vert="horz"/>
              <a:lstStyle/>
              <a:p>
                <a:pPr>
                  <a:defRPr sz="1600"/>
                </a:pPr>
                <a:r>
                  <a:rPr lang="en-US" sz="1600" dirty="0" smtClean="0"/>
                  <a:t>Ktoe</a:t>
                </a:r>
                <a:r>
                  <a:rPr lang="lt-LT" sz="1600" dirty="0" smtClean="0"/>
                  <a:t> per </a:t>
                </a:r>
                <a:r>
                  <a:rPr lang="en-US" sz="1600" dirty="0" smtClean="0"/>
                  <a:t>year</a:t>
                </a:r>
                <a:endParaRPr lang="lt-LT" sz="1600" dirty="0"/>
              </a:p>
            </c:rich>
          </c:tx>
          <c:layout/>
        </c:title>
        <c:numFmt formatCode="General" sourceLinked="1"/>
        <c:tickLblPos val="nextTo"/>
        <c:txPr>
          <a:bodyPr/>
          <a:lstStyle/>
          <a:p>
            <a:pPr>
              <a:defRPr sz="1600"/>
            </a:pPr>
            <a:endParaRPr lang="hu-HU"/>
          </a:p>
        </c:txPr>
        <c:crossAx val="5701337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100" b="1"/>
      </a:pPr>
      <a:endParaRPr lang="hu-HU"/>
    </a:p>
  </c:txPr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1.5727389710131687E-2"/>
          <c:y val="0.14861469908408836"/>
          <c:w val="0.62586204808866119"/>
          <c:h val="0.70277060183182349"/>
        </c:manualLayout>
      </c:layout>
      <c:pieChart>
        <c:varyColors val="1"/>
        <c:ser>
          <c:idx val="0"/>
          <c:order val="0"/>
          <c:explosion val="25"/>
          <c:dPt>
            <c:idx val="0"/>
            <c:spPr>
              <a:solidFill>
                <a:srgbClr val="C4E59F"/>
              </a:solidFill>
            </c:spPr>
          </c:dPt>
          <c:dPt>
            <c:idx val="1"/>
            <c:spPr>
              <a:solidFill>
                <a:srgbClr val="C4E59F"/>
              </a:solidFill>
            </c:spPr>
          </c:dPt>
          <c:dPt>
            <c:idx val="2"/>
            <c:spPr>
              <a:solidFill>
                <a:srgbClr val="FFC000"/>
              </a:solidFill>
            </c:spPr>
          </c:dPt>
          <c:dPt>
            <c:idx val="3"/>
          </c:dPt>
          <c:dPt>
            <c:idx val="4"/>
          </c:dPt>
          <c:dPt>
            <c:idx val="5"/>
          </c:dPt>
          <c:dPt>
            <c:idx val="6"/>
          </c:dPt>
          <c:cat>
            <c:strRef>
              <c:f>[viap_vertimas.xls]Sheet1!$B$2:$B$8</c:f>
              <c:strCache>
                <c:ptCount val="7"/>
                <c:pt idx="0">
                  <c:v>RES support and balancing</c:v>
                </c:pt>
                <c:pt idx="1">
                  <c:v>RES conection to the grids</c:v>
                </c:pt>
                <c:pt idx="2">
                  <c:v>CHP generation</c:v>
                </c:pt>
                <c:pt idx="3">
                  <c:v>Lithuania Power Plant generation</c:v>
                </c:pt>
                <c:pt idx="4">
                  <c:v>Lithuanian power plant reserve</c:v>
                </c:pt>
                <c:pt idx="5">
                  <c:v>Strategic infrastructure projects (NordBalt)</c:v>
                </c:pt>
                <c:pt idx="6">
                  <c:v>Administration</c:v>
                </c:pt>
              </c:strCache>
            </c:strRef>
          </c:cat>
          <c:val>
            <c:numRef>
              <c:f>[viap_vertimas.xls]Sheet1!$I$2:$I$8</c:f>
              <c:numCache>
                <c:formatCode>General</c:formatCode>
                <c:ptCount val="7"/>
                <c:pt idx="0">
                  <c:v>184.21199999999999</c:v>
                </c:pt>
                <c:pt idx="1">
                  <c:v>0.45200000000000001</c:v>
                </c:pt>
                <c:pt idx="2">
                  <c:v>168.202</c:v>
                </c:pt>
                <c:pt idx="3">
                  <c:v>471.17700000000002</c:v>
                </c:pt>
                <c:pt idx="4">
                  <c:v>14.359000000000002</c:v>
                </c:pt>
                <c:pt idx="5">
                  <c:v>85</c:v>
                </c:pt>
                <c:pt idx="6">
                  <c:v>0.5</c:v>
                </c:pt>
              </c:numCache>
            </c:numRef>
          </c:val>
        </c:ser>
        <c:dLbls/>
        <c:firstSliceAng val="0"/>
      </c:pieChart>
      <c:spPr>
        <a:noFill/>
        <a:ln w="25400">
          <a:noFill/>
        </a:ln>
      </c:spPr>
    </c:plotArea>
    <c:legend>
      <c:legendPos val="r"/>
      <c:layout/>
    </c:legend>
    <c:plotVisOnly val="1"/>
    <c:dispBlanksAs val="zero"/>
  </c:chart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hart>
    <c:plotArea>
      <c:layout/>
      <c:barChart>
        <c:barDir val="col"/>
        <c:grouping val="clustered"/>
        <c:ser>
          <c:idx val="0"/>
          <c:order val="0"/>
          <c:dPt>
            <c:idx val="9"/>
            <c:spPr>
              <a:solidFill>
                <a:srgbClr val="FF0000"/>
              </a:solidFill>
            </c:spPr>
          </c:dPt>
          <c:cat>
            <c:strRef>
              <c:f>Data!$A$14:$A$50</c:f>
              <c:strCache>
                <c:ptCount val="37"/>
                <c:pt idx="0">
                  <c:v>Former Yugoslav Republic of Macedonia, the</c:v>
                </c:pt>
                <c:pt idx="1">
                  <c:v>Bosnia and Herzegovina</c:v>
                </c:pt>
                <c:pt idx="2">
                  <c:v>Romania</c:v>
                </c:pt>
                <c:pt idx="3">
                  <c:v>Estonia</c:v>
                </c:pt>
                <c:pt idx="4">
                  <c:v>Bulgaria</c:v>
                </c:pt>
                <c:pt idx="5">
                  <c:v>Montenegro</c:v>
                </c:pt>
                <c:pt idx="6">
                  <c:v>Iceland</c:v>
                </c:pt>
                <c:pt idx="7">
                  <c:v>Albania</c:v>
                </c:pt>
                <c:pt idx="8">
                  <c:v>France</c:v>
                </c:pt>
                <c:pt idx="9">
                  <c:v>Lithuania</c:v>
                </c:pt>
                <c:pt idx="10">
                  <c:v>Greece</c:v>
                </c:pt>
                <c:pt idx="11">
                  <c:v>Finland</c:v>
                </c:pt>
                <c:pt idx="12">
                  <c:v>Croatia</c:v>
                </c:pt>
                <c:pt idx="13">
                  <c:v>Latvia</c:v>
                </c:pt>
                <c:pt idx="14">
                  <c:v>Turkey</c:v>
                </c:pt>
                <c:pt idx="15">
                  <c:v>Portugal</c:v>
                </c:pt>
                <c:pt idx="16">
                  <c:v>Slovenia</c:v>
                </c:pt>
                <c:pt idx="17">
                  <c:v>Poland</c:v>
                </c:pt>
                <c:pt idx="18">
                  <c:v>Hungary</c:v>
                </c:pt>
                <c:pt idx="19">
                  <c:v>Czech Republic</c:v>
                </c:pt>
                <c:pt idx="20">
                  <c:v>Norway</c:v>
                </c:pt>
                <c:pt idx="21">
                  <c:v>Denmark</c:v>
                </c:pt>
                <c:pt idx="22">
                  <c:v>Sweden</c:v>
                </c:pt>
                <c:pt idx="23">
                  <c:v>Euro area (EA11-2000, EA12-2006, EA13-2007, EA15-2008, EA16-2010, EA17)</c:v>
                </c:pt>
                <c:pt idx="24">
                  <c:v>Netherlands</c:v>
                </c:pt>
                <c:pt idx="25">
                  <c:v>European Union (27 countries)</c:v>
                </c:pt>
                <c:pt idx="26">
                  <c:v>Slovakia</c:v>
                </c:pt>
                <c:pt idx="27">
                  <c:v>Austria</c:v>
                </c:pt>
                <c:pt idx="28">
                  <c:v>Germany (until 1990 former territory of the FRG)</c:v>
                </c:pt>
                <c:pt idx="29">
                  <c:v>Luxembourg</c:v>
                </c:pt>
                <c:pt idx="30">
                  <c:v>Italy</c:v>
                </c:pt>
                <c:pt idx="31">
                  <c:v>Malta</c:v>
                </c:pt>
                <c:pt idx="32">
                  <c:v>Belgium</c:v>
                </c:pt>
                <c:pt idx="33">
                  <c:v>United Kingdom</c:v>
                </c:pt>
                <c:pt idx="34">
                  <c:v>Spain</c:v>
                </c:pt>
                <c:pt idx="35">
                  <c:v>Ireland</c:v>
                </c:pt>
                <c:pt idx="36">
                  <c:v>Cyprus</c:v>
                </c:pt>
              </c:strCache>
            </c:strRef>
          </c:cat>
          <c:val>
            <c:numRef>
              <c:f>Data!$B$14:$B$50</c:f>
              <c:numCache>
                <c:formatCode>#,##0.0000</c:formatCode>
                <c:ptCount val="37"/>
                <c:pt idx="0">
                  <c:v>3.6900000000000002E-2</c:v>
                </c:pt>
                <c:pt idx="1">
                  <c:v>6.8699999999999997E-2</c:v>
                </c:pt>
                <c:pt idx="2">
                  <c:v>7.4800000000000019E-2</c:v>
                </c:pt>
                <c:pt idx="3">
                  <c:v>7.9400000000000012E-2</c:v>
                </c:pt>
                <c:pt idx="4">
                  <c:v>7.9600000000000004E-2</c:v>
                </c:pt>
                <c:pt idx="5">
                  <c:v>8.3200000000000024E-2</c:v>
                </c:pt>
                <c:pt idx="6">
                  <c:v>9.2000000000000026E-2</c:v>
                </c:pt>
                <c:pt idx="7">
                  <c:v>9.7300000000000011E-2</c:v>
                </c:pt>
                <c:pt idx="8">
                  <c:v>0.10260000000000001</c:v>
                </c:pt>
                <c:pt idx="9">
                  <c:v>0.1048</c:v>
                </c:pt>
                <c:pt idx="10">
                  <c:v>0.10720000000000002</c:v>
                </c:pt>
                <c:pt idx="11">
                  <c:v>0.10970000000000003</c:v>
                </c:pt>
                <c:pt idx="12">
                  <c:v>0.11</c:v>
                </c:pt>
                <c:pt idx="13">
                  <c:v>0.11320000000000001</c:v>
                </c:pt>
                <c:pt idx="14">
                  <c:v>0.1169</c:v>
                </c:pt>
                <c:pt idx="15">
                  <c:v>0.1174</c:v>
                </c:pt>
                <c:pt idx="16">
                  <c:v>0.11920000000000001</c:v>
                </c:pt>
                <c:pt idx="17">
                  <c:v>0.11950000000000001</c:v>
                </c:pt>
                <c:pt idx="18">
                  <c:v>0.12260000000000001</c:v>
                </c:pt>
                <c:pt idx="19">
                  <c:v>0.12379999999999999</c:v>
                </c:pt>
                <c:pt idx="20">
                  <c:v>0.12659999999999999</c:v>
                </c:pt>
                <c:pt idx="21">
                  <c:v>0.12959999999999999</c:v>
                </c:pt>
                <c:pt idx="22">
                  <c:v>0.13450000000000001</c:v>
                </c:pt>
                <c:pt idx="23">
                  <c:v>0.1366</c:v>
                </c:pt>
                <c:pt idx="24">
                  <c:v>0.13769999999999999</c:v>
                </c:pt>
                <c:pt idx="25">
                  <c:v>0.13830000000000001</c:v>
                </c:pt>
                <c:pt idx="26">
                  <c:v>0.14040000000000002</c:v>
                </c:pt>
                <c:pt idx="27">
                  <c:v>0.14119999999999999</c:v>
                </c:pt>
                <c:pt idx="28">
                  <c:v>0.14319999999999999</c:v>
                </c:pt>
                <c:pt idx="29">
                  <c:v>0.14770000000000003</c:v>
                </c:pt>
                <c:pt idx="30">
                  <c:v>0.15250000000000002</c:v>
                </c:pt>
                <c:pt idx="31">
                  <c:v>0.1615</c:v>
                </c:pt>
                <c:pt idx="32">
                  <c:v>0.16839999999999999</c:v>
                </c:pt>
                <c:pt idx="33">
                  <c:v>0.1701</c:v>
                </c:pt>
                <c:pt idx="34">
                  <c:v>0.17890000000000003</c:v>
                </c:pt>
                <c:pt idx="35">
                  <c:v>0.19539999999999999</c:v>
                </c:pt>
                <c:pt idx="36">
                  <c:v>0.24140000000000003</c:v>
                </c:pt>
              </c:numCache>
            </c:numRef>
          </c:val>
        </c:ser>
        <c:dLbls/>
        <c:axId val="58394496"/>
        <c:axId val="58396032"/>
      </c:barChart>
      <c:catAx>
        <c:axId val="58394496"/>
        <c:scaling>
          <c:orientation val="minMax"/>
        </c:scaling>
        <c:axPos val="b"/>
        <c:numFmt formatCode="General" sourceLinked="1"/>
        <c:tickLblPos val="nextTo"/>
        <c:crossAx val="58396032"/>
        <c:crosses val="autoZero"/>
        <c:auto val="1"/>
        <c:lblAlgn val="ctr"/>
        <c:lblOffset val="100"/>
      </c:catAx>
      <c:valAx>
        <c:axId val="58396032"/>
        <c:scaling>
          <c:orientation val="minMax"/>
        </c:scaling>
        <c:axPos val="l"/>
        <c:majorGridlines/>
        <c:numFmt formatCode="#,##0.0000" sourceLinked="1"/>
        <c:tickLblPos val="nextTo"/>
        <c:crossAx val="58394496"/>
        <c:crosses val="autoZero"/>
        <c:crossBetween val="between"/>
      </c:valAx>
    </c:plotArea>
    <c:plotVisOnly val="1"/>
    <c:dispBlanksAs val="gap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hart>
    <c:plotArea>
      <c:layout/>
      <c:barChart>
        <c:barDir val="col"/>
        <c:grouping val="clustered"/>
        <c:dLbls/>
        <c:axId val="58410880"/>
        <c:axId val="58412416"/>
      </c:barChart>
      <c:catAx>
        <c:axId val="58410880"/>
        <c:scaling>
          <c:orientation val="minMax"/>
        </c:scaling>
        <c:axPos val="b"/>
        <c:numFmt formatCode="General" sourceLinked="1"/>
        <c:tickLblPos val="nextTo"/>
        <c:crossAx val="58412416"/>
        <c:crosses val="autoZero"/>
        <c:auto val="1"/>
        <c:lblAlgn val="ctr"/>
        <c:lblOffset val="100"/>
      </c:catAx>
      <c:valAx>
        <c:axId val="58412416"/>
        <c:scaling>
          <c:orientation val="minMax"/>
        </c:scaling>
        <c:axPos val="l"/>
        <c:majorGridlines/>
        <c:numFmt formatCode="#,##0.0000" sourceLinked="1"/>
        <c:tickLblPos val="nextTo"/>
        <c:crossAx val="58410880"/>
        <c:crosses val="autoZero"/>
        <c:crossBetween val="between"/>
      </c:valAx>
    </c:plotArea>
    <c:plotVisOnly val="1"/>
    <c:dispBlanksAs val="gap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hart>
    <c:plotArea>
      <c:layout/>
      <c:barChart>
        <c:barDir val="col"/>
        <c:grouping val="clustered"/>
        <c:dLbls/>
        <c:axId val="57808384"/>
        <c:axId val="57809920"/>
      </c:barChart>
      <c:catAx>
        <c:axId val="57808384"/>
        <c:scaling>
          <c:orientation val="minMax"/>
        </c:scaling>
        <c:axPos val="b"/>
        <c:tickLblPos val="nextTo"/>
        <c:crossAx val="57809920"/>
        <c:crosses val="autoZero"/>
        <c:auto val="1"/>
        <c:lblAlgn val="ctr"/>
        <c:lblOffset val="100"/>
      </c:catAx>
      <c:valAx>
        <c:axId val="57809920"/>
        <c:scaling>
          <c:orientation val="minMax"/>
        </c:scaling>
        <c:axPos val="l"/>
        <c:majorGridlines/>
        <c:numFmt formatCode="#,##0.0000" sourceLinked="1"/>
        <c:tickLblPos val="nextTo"/>
        <c:crossAx val="57808384"/>
        <c:crosses val="autoZero"/>
        <c:crossBetween val="between"/>
      </c:valAx>
    </c:plotArea>
    <c:plotVisOnly val="1"/>
    <c:dispBlanksAs val="gap"/>
  </c:chart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hart>
    <c:plotArea>
      <c:layout/>
      <c:barChart>
        <c:barDir val="col"/>
        <c:grouping val="clustered"/>
        <c:ser>
          <c:idx val="0"/>
          <c:order val="0"/>
          <c:dPt>
            <c:idx val="24"/>
            <c:spPr>
              <a:solidFill>
                <a:srgbClr val="FF0000"/>
              </a:solidFill>
            </c:spPr>
          </c:dPt>
          <c:cat>
            <c:strRef>
              <c:f>[nrg_pc_205.xls]Data!$A$14:$A$50</c:f>
              <c:strCache>
                <c:ptCount val="37"/>
                <c:pt idx="0">
                  <c:v>Iceland</c:v>
                </c:pt>
                <c:pt idx="1">
                  <c:v>Norway</c:v>
                </c:pt>
                <c:pt idx="2">
                  <c:v>Finland</c:v>
                </c:pt>
                <c:pt idx="3">
                  <c:v>Former Yugoslav Republic of Macedonia, the</c:v>
                </c:pt>
                <c:pt idx="4">
                  <c:v>France</c:v>
                </c:pt>
                <c:pt idx="5">
                  <c:v>Denmark</c:v>
                </c:pt>
                <c:pt idx="6">
                  <c:v>Sweden</c:v>
                </c:pt>
                <c:pt idx="7">
                  <c:v>Estonia</c:v>
                </c:pt>
                <c:pt idx="8">
                  <c:v>Greece</c:v>
                </c:pt>
                <c:pt idx="9">
                  <c:v>Luxembourg</c:v>
                </c:pt>
                <c:pt idx="10">
                  <c:v>Netherlands</c:v>
                </c:pt>
                <c:pt idx="11">
                  <c:v>Austria</c:v>
                </c:pt>
                <c:pt idx="12">
                  <c:v>Euro area (EA11-2000, EA12-2006, EA13-2007, EA15-2008, EA16-2010, EA17)</c:v>
                </c:pt>
                <c:pt idx="13">
                  <c:v>European Union (27 countries)</c:v>
                </c:pt>
                <c:pt idx="14">
                  <c:v>Germany (until 1990 former territory of the FRG)</c:v>
                </c:pt>
                <c:pt idx="15">
                  <c:v>Slovenia</c:v>
                </c:pt>
                <c:pt idx="16">
                  <c:v>Portugal</c:v>
                </c:pt>
                <c:pt idx="17">
                  <c:v>Belgium</c:v>
                </c:pt>
                <c:pt idx="18">
                  <c:v>Italy</c:v>
                </c:pt>
                <c:pt idx="19">
                  <c:v>Romania</c:v>
                </c:pt>
                <c:pt idx="20">
                  <c:v>United Kingdom</c:v>
                </c:pt>
                <c:pt idx="21">
                  <c:v>Croatia</c:v>
                </c:pt>
                <c:pt idx="22">
                  <c:v>Latvia</c:v>
                </c:pt>
                <c:pt idx="23">
                  <c:v>Montenegro</c:v>
                </c:pt>
                <c:pt idx="24">
                  <c:v>Lithuania</c:v>
                </c:pt>
                <c:pt idx="25">
                  <c:v>Czech Republic</c:v>
                </c:pt>
                <c:pt idx="26">
                  <c:v>Bulgaria</c:v>
                </c:pt>
                <c:pt idx="27">
                  <c:v>Ireland</c:v>
                </c:pt>
                <c:pt idx="28">
                  <c:v>Turkey</c:v>
                </c:pt>
                <c:pt idx="29">
                  <c:v>Spain</c:v>
                </c:pt>
                <c:pt idx="30">
                  <c:v>Hungary</c:v>
                </c:pt>
                <c:pt idx="31">
                  <c:v>Poland</c:v>
                </c:pt>
                <c:pt idx="32">
                  <c:v>Slovakia</c:v>
                </c:pt>
                <c:pt idx="33">
                  <c:v>Malta</c:v>
                </c:pt>
                <c:pt idx="34">
                  <c:v>Cyprus</c:v>
                </c:pt>
                <c:pt idx="35">
                  <c:v>Albania</c:v>
                </c:pt>
                <c:pt idx="36">
                  <c:v>Bosnia and Herzegovina</c:v>
                </c:pt>
              </c:strCache>
            </c:strRef>
          </c:cat>
          <c:val>
            <c:numRef>
              <c:f>[nrg_pc_205.xls]Data!$B$14:$B$50</c:f>
              <c:numCache>
                <c:formatCode>#,##0.0000</c:formatCode>
                <c:ptCount val="37"/>
                <c:pt idx="0">
                  <c:v>7.8100000000000003E-2</c:v>
                </c:pt>
                <c:pt idx="1">
                  <c:v>7.870000000000002E-2</c:v>
                </c:pt>
                <c:pt idx="2">
                  <c:v>8.9600000000000055E-2</c:v>
                </c:pt>
                <c:pt idx="3">
                  <c:v>9.0300000000000005E-2</c:v>
                </c:pt>
                <c:pt idx="4">
                  <c:v>9.1700000000000004E-2</c:v>
                </c:pt>
                <c:pt idx="5">
                  <c:v>9.5300000000000024E-2</c:v>
                </c:pt>
                <c:pt idx="6">
                  <c:v>0.10020000000000001</c:v>
                </c:pt>
                <c:pt idx="7">
                  <c:v>0.11210000000000002</c:v>
                </c:pt>
                <c:pt idx="8">
                  <c:v>0.11890000000000002</c:v>
                </c:pt>
                <c:pt idx="9">
                  <c:v>0.12120000000000002</c:v>
                </c:pt>
                <c:pt idx="10">
                  <c:v>0.12759999999999999</c:v>
                </c:pt>
                <c:pt idx="11">
                  <c:v>0.1283</c:v>
                </c:pt>
                <c:pt idx="12">
                  <c:v>0.13189999999999999</c:v>
                </c:pt>
                <c:pt idx="13">
                  <c:v>0.13830000000000001</c:v>
                </c:pt>
                <c:pt idx="14">
                  <c:v>0.13850000000000001</c:v>
                </c:pt>
                <c:pt idx="15">
                  <c:v>0.14430000000000001</c:v>
                </c:pt>
                <c:pt idx="16">
                  <c:v>0.14600000000000002</c:v>
                </c:pt>
                <c:pt idx="17">
                  <c:v>0.14890000000000003</c:v>
                </c:pt>
                <c:pt idx="18">
                  <c:v>0.14890000000000003</c:v>
                </c:pt>
                <c:pt idx="19">
                  <c:v>0.15440000000000004</c:v>
                </c:pt>
                <c:pt idx="20">
                  <c:v>0.15460000000000002</c:v>
                </c:pt>
                <c:pt idx="21">
                  <c:v>0.16220000000000001</c:v>
                </c:pt>
                <c:pt idx="22">
                  <c:v>0.16669999999999999</c:v>
                </c:pt>
                <c:pt idx="23">
                  <c:v>0.1678</c:v>
                </c:pt>
                <c:pt idx="24">
                  <c:v>0.17150000000000001</c:v>
                </c:pt>
                <c:pt idx="25">
                  <c:v>0.17460000000000001</c:v>
                </c:pt>
                <c:pt idx="26">
                  <c:v>0.17670000000000002</c:v>
                </c:pt>
                <c:pt idx="27">
                  <c:v>0.18060000000000001</c:v>
                </c:pt>
                <c:pt idx="28">
                  <c:v>0.18900000000000003</c:v>
                </c:pt>
                <c:pt idx="29">
                  <c:v>0.19620000000000001</c:v>
                </c:pt>
                <c:pt idx="30">
                  <c:v>0.20090000000000002</c:v>
                </c:pt>
                <c:pt idx="31">
                  <c:v>0.2021</c:v>
                </c:pt>
                <c:pt idx="32">
                  <c:v>0.20290000000000002</c:v>
                </c:pt>
                <c:pt idx="33">
                  <c:v>0.22120000000000001</c:v>
                </c:pt>
                <c:pt idx="34">
                  <c:v>0.2732</c:v>
                </c:pt>
                <c:pt idx="35" formatCode="General">
                  <c:v>0</c:v>
                </c:pt>
                <c:pt idx="36" formatCode="General">
                  <c:v>0</c:v>
                </c:pt>
              </c:numCache>
            </c:numRef>
          </c:val>
        </c:ser>
        <c:dLbls/>
        <c:axId val="57817728"/>
        <c:axId val="57823616"/>
      </c:barChart>
      <c:catAx>
        <c:axId val="57817728"/>
        <c:scaling>
          <c:orientation val="minMax"/>
        </c:scaling>
        <c:axPos val="b"/>
        <c:tickLblPos val="nextTo"/>
        <c:crossAx val="57823616"/>
        <c:crosses val="autoZero"/>
        <c:auto val="1"/>
        <c:lblAlgn val="ctr"/>
        <c:lblOffset val="100"/>
      </c:catAx>
      <c:valAx>
        <c:axId val="57823616"/>
        <c:scaling>
          <c:orientation val="minMax"/>
        </c:scaling>
        <c:axPos val="l"/>
        <c:majorGridlines/>
        <c:numFmt formatCode="#,##0.0000" sourceLinked="1"/>
        <c:tickLblPos val="nextTo"/>
        <c:crossAx val="57817728"/>
        <c:crosses val="autoZero"/>
        <c:crossBetween val="between"/>
      </c:valAx>
    </c:plotArea>
    <c:plotVisOnly val="1"/>
    <c:dispBlanksAs val="gap"/>
  </c:chart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19FD2A6-704E-467E-A1B1-4324520AD49F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lt-LT"/>
        </a:p>
      </dgm:t>
    </dgm:pt>
    <dgm:pt modelId="{B1AF7FED-D8DF-42B3-BBBA-529A01732755}">
      <dgm:prSet phldrT="[Text]"/>
      <dgm:spPr/>
      <dgm:t>
        <a:bodyPr/>
        <a:lstStyle/>
        <a:p>
          <a:r>
            <a:rPr lang="lt-LT" dirty="0" smtClean="0"/>
            <a:t>23</a:t>
          </a:r>
          <a:r>
            <a:rPr lang="en-US" dirty="0" smtClean="0"/>
            <a:t>% RES</a:t>
          </a:r>
          <a:endParaRPr lang="lt-LT" dirty="0"/>
        </a:p>
      </dgm:t>
    </dgm:pt>
    <dgm:pt modelId="{1566F6DD-82E0-471D-888A-4824E2DAE73F}" type="parTrans" cxnId="{6D0C1F79-199B-4240-9CB7-638ECA82A5F8}">
      <dgm:prSet/>
      <dgm:spPr/>
      <dgm:t>
        <a:bodyPr/>
        <a:lstStyle/>
        <a:p>
          <a:endParaRPr lang="lt-LT"/>
        </a:p>
      </dgm:t>
    </dgm:pt>
    <dgm:pt modelId="{F8863FB8-881E-42A5-981A-1ABF21055E3E}" type="sibTrans" cxnId="{6D0C1F79-199B-4240-9CB7-638ECA82A5F8}">
      <dgm:prSet/>
      <dgm:spPr/>
      <dgm:t>
        <a:bodyPr/>
        <a:lstStyle/>
        <a:p>
          <a:endParaRPr lang="lt-LT"/>
        </a:p>
      </dgm:t>
    </dgm:pt>
    <dgm:pt modelId="{EC81CBA5-5D08-4EA2-B59D-2DE4C51B8DD1}">
      <dgm:prSet/>
      <dgm:spPr/>
      <dgm:t>
        <a:bodyPr/>
        <a:lstStyle/>
        <a:p>
          <a:r>
            <a:rPr lang="en-US" dirty="0" smtClean="0"/>
            <a:t>20%</a:t>
          </a:r>
          <a:r>
            <a:rPr lang="lt-LT" dirty="0" smtClean="0"/>
            <a:t> RES </a:t>
          </a:r>
          <a:r>
            <a:rPr lang="en-US" noProof="0" dirty="0" smtClean="0"/>
            <a:t>Electricity</a:t>
          </a:r>
          <a:endParaRPr lang="lt-LT" dirty="0"/>
        </a:p>
      </dgm:t>
    </dgm:pt>
    <dgm:pt modelId="{A1F1CF07-035B-49E0-89B4-4B4795C997B6}" type="parTrans" cxnId="{C47AB586-C53D-40DC-8839-F48127771734}">
      <dgm:prSet/>
      <dgm:spPr/>
      <dgm:t>
        <a:bodyPr/>
        <a:lstStyle/>
        <a:p>
          <a:endParaRPr lang="lt-LT"/>
        </a:p>
      </dgm:t>
    </dgm:pt>
    <dgm:pt modelId="{A78E7E1B-95BB-4C75-A37E-1EBF419394D0}" type="sibTrans" cxnId="{C47AB586-C53D-40DC-8839-F48127771734}">
      <dgm:prSet/>
      <dgm:spPr/>
      <dgm:t>
        <a:bodyPr/>
        <a:lstStyle/>
        <a:p>
          <a:endParaRPr lang="lt-LT"/>
        </a:p>
      </dgm:t>
    </dgm:pt>
    <dgm:pt modelId="{BB77D637-2531-48C5-971A-C74AA106179E}">
      <dgm:prSet/>
      <dgm:spPr/>
      <dgm:t>
        <a:bodyPr/>
        <a:lstStyle/>
        <a:p>
          <a:r>
            <a:rPr lang="lt-LT" dirty="0" smtClean="0"/>
            <a:t>60</a:t>
          </a:r>
          <a:r>
            <a:rPr lang="en-US" dirty="0" smtClean="0"/>
            <a:t>%</a:t>
          </a:r>
          <a:r>
            <a:rPr lang="lt-LT" dirty="0" smtClean="0"/>
            <a:t> RES CHS</a:t>
          </a:r>
          <a:endParaRPr lang="lt-LT" dirty="0"/>
        </a:p>
      </dgm:t>
    </dgm:pt>
    <dgm:pt modelId="{2CA56FDB-75EF-4447-8139-D8803CAAC748}" type="parTrans" cxnId="{DB4E4980-1F0C-4A4B-80B2-4E43415D44DE}">
      <dgm:prSet/>
      <dgm:spPr/>
      <dgm:t>
        <a:bodyPr/>
        <a:lstStyle/>
        <a:p>
          <a:endParaRPr lang="lt-LT"/>
        </a:p>
      </dgm:t>
    </dgm:pt>
    <dgm:pt modelId="{790C5AE7-E408-4C40-A1DF-A86295328A27}" type="sibTrans" cxnId="{DB4E4980-1F0C-4A4B-80B2-4E43415D44DE}">
      <dgm:prSet/>
      <dgm:spPr/>
      <dgm:t>
        <a:bodyPr/>
        <a:lstStyle/>
        <a:p>
          <a:endParaRPr lang="lt-LT"/>
        </a:p>
      </dgm:t>
    </dgm:pt>
    <dgm:pt modelId="{9C6E863F-9C25-4D41-8E2B-EB9A9E54ADF9}">
      <dgm:prSet/>
      <dgm:spPr/>
      <dgm:t>
        <a:bodyPr/>
        <a:lstStyle/>
        <a:p>
          <a:r>
            <a:rPr lang="lt-LT" dirty="0" smtClean="0"/>
            <a:t>10</a:t>
          </a:r>
          <a:r>
            <a:rPr lang="en-US" dirty="0" smtClean="0"/>
            <a:t>% </a:t>
          </a:r>
          <a:r>
            <a:rPr lang="lt-LT" dirty="0" smtClean="0"/>
            <a:t>RES </a:t>
          </a:r>
          <a:r>
            <a:rPr lang="en-US" dirty="0" smtClean="0"/>
            <a:t>Transport</a:t>
          </a:r>
          <a:endParaRPr lang="lt-LT" dirty="0"/>
        </a:p>
      </dgm:t>
    </dgm:pt>
    <dgm:pt modelId="{9D59A908-C9E0-477E-95CA-4788E9412461}" type="parTrans" cxnId="{94A846FC-594E-4A00-A49C-6FF7A1C1C516}">
      <dgm:prSet/>
      <dgm:spPr/>
      <dgm:t>
        <a:bodyPr/>
        <a:lstStyle/>
        <a:p>
          <a:endParaRPr lang="lt-LT"/>
        </a:p>
      </dgm:t>
    </dgm:pt>
    <dgm:pt modelId="{54EB193A-DE2C-4329-AAA3-E62F92EA10AF}" type="sibTrans" cxnId="{94A846FC-594E-4A00-A49C-6FF7A1C1C516}">
      <dgm:prSet/>
      <dgm:spPr/>
      <dgm:t>
        <a:bodyPr/>
        <a:lstStyle/>
        <a:p>
          <a:endParaRPr lang="lt-LT"/>
        </a:p>
      </dgm:t>
    </dgm:pt>
    <dgm:pt modelId="{737DF0F6-1AA0-4964-8946-22969640B638}">
      <dgm:prSet/>
      <dgm:spPr/>
      <dgm:t>
        <a:bodyPr/>
        <a:lstStyle/>
        <a:p>
          <a:r>
            <a:rPr lang="lt-LT" dirty="0" smtClean="0"/>
            <a:t>10</a:t>
          </a:r>
          <a:r>
            <a:rPr lang="en-US" dirty="0" smtClean="0"/>
            <a:t>% </a:t>
          </a:r>
          <a:r>
            <a:rPr lang="lt-LT" dirty="0" smtClean="0"/>
            <a:t>RES </a:t>
          </a:r>
          <a:r>
            <a:rPr lang="en-US" dirty="0" smtClean="0"/>
            <a:t>Transport</a:t>
          </a:r>
          <a:endParaRPr lang="lt-LT" dirty="0"/>
        </a:p>
      </dgm:t>
    </dgm:pt>
    <dgm:pt modelId="{A5EB4C32-C840-4528-98F7-A7CDFFBA17F4}" type="parTrans" cxnId="{F6D9DCE2-04E7-49E9-A14A-673D48521CCD}">
      <dgm:prSet/>
      <dgm:spPr/>
      <dgm:t>
        <a:bodyPr/>
        <a:lstStyle/>
        <a:p>
          <a:endParaRPr lang="lt-LT"/>
        </a:p>
      </dgm:t>
    </dgm:pt>
    <dgm:pt modelId="{E37E2928-1AAA-46B7-AE6C-F3B2F95BB8FB}" type="sibTrans" cxnId="{F6D9DCE2-04E7-49E9-A14A-673D48521CCD}">
      <dgm:prSet/>
      <dgm:spPr/>
      <dgm:t>
        <a:bodyPr/>
        <a:lstStyle/>
        <a:p>
          <a:endParaRPr lang="lt-LT"/>
        </a:p>
      </dgm:t>
    </dgm:pt>
    <dgm:pt modelId="{32D92375-4219-49D7-9E95-C2A9EE43CAC4}" type="pres">
      <dgm:prSet presAssocID="{B19FD2A6-704E-467E-A1B1-4324520AD49F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lt-LT"/>
        </a:p>
      </dgm:t>
    </dgm:pt>
    <dgm:pt modelId="{AD853B89-0968-40A0-AF02-B5C4CECA8D9B}" type="pres">
      <dgm:prSet presAssocID="{B1AF7FED-D8DF-42B3-BBBA-529A01732755}" presName="hierRoot1" presStyleCnt="0"/>
      <dgm:spPr/>
    </dgm:pt>
    <dgm:pt modelId="{EB0BCC71-9D71-4752-8252-AF6A8E262512}" type="pres">
      <dgm:prSet presAssocID="{B1AF7FED-D8DF-42B3-BBBA-529A01732755}" presName="composite" presStyleCnt="0"/>
      <dgm:spPr/>
    </dgm:pt>
    <dgm:pt modelId="{033E6E5A-FB3C-4FDE-AEF1-87AE3C7956FF}" type="pres">
      <dgm:prSet presAssocID="{B1AF7FED-D8DF-42B3-BBBA-529A01732755}" presName="background" presStyleLbl="node0" presStyleIdx="0" presStyleCnt="1"/>
      <dgm:spPr/>
    </dgm:pt>
    <dgm:pt modelId="{CBCA90E2-8C98-4508-B4CD-CF9B1FEE4B76}" type="pres">
      <dgm:prSet presAssocID="{B1AF7FED-D8DF-42B3-BBBA-529A01732755}" presName="text" presStyleLbl="fgAcc0" presStyleIdx="0" presStyleCnt="1" custLinFactNeighborX="-73846" custLinFactNeighborY="-1436">
        <dgm:presLayoutVars>
          <dgm:chPref val="3"/>
        </dgm:presLayoutVars>
      </dgm:prSet>
      <dgm:spPr/>
      <dgm:t>
        <a:bodyPr/>
        <a:lstStyle/>
        <a:p>
          <a:endParaRPr lang="lt-LT"/>
        </a:p>
      </dgm:t>
    </dgm:pt>
    <dgm:pt modelId="{AFDE847E-5C9C-4E74-A280-A7985E01E6BF}" type="pres">
      <dgm:prSet presAssocID="{B1AF7FED-D8DF-42B3-BBBA-529A01732755}" presName="hierChild2" presStyleCnt="0"/>
      <dgm:spPr/>
    </dgm:pt>
    <dgm:pt modelId="{EF2AF482-EBD6-40AC-811C-3E8AAF03BC08}" type="pres">
      <dgm:prSet presAssocID="{A1F1CF07-035B-49E0-89B4-4B4795C997B6}" presName="Name10" presStyleLbl="parChTrans1D2" presStyleIdx="0" presStyleCnt="3"/>
      <dgm:spPr/>
      <dgm:t>
        <a:bodyPr/>
        <a:lstStyle/>
        <a:p>
          <a:endParaRPr lang="lt-LT"/>
        </a:p>
      </dgm:t>
    </dgm:pt>
    <dgm:pt modelId="{7B53148A-2058-4B1B-8B66-37D98A22B4B3}" type="pres">
      <dgm:prSet presAssocID="{EC81CBA5-5D08-4EA2-B59D-2DE4C51B8DD1}" presName="hierRoot2" presStyleCnt="0"/>
      <dgm:spPr/>
    </dgm:pt>
    <dgm:pt modelId="{CD73BABD-F96A-4A91-9425-0FBF50120B4A}" type="pres">
      <dgm:prSet presAssocID="{EC81CBA5-5D08-4EA2-B59D-2DE4C51B8DD1}" presName="composite2" presStyleCnt="0"/>
      <dgm:spPr/>
    </dgm:pt>
    <dgm:pt modelId="{65113A32-0FFB-4DCB-B278-CA9536EA4977}" type="pres">
      <dgm:prSet presAssocID="{EC81CBA5-5D08-4EA2-B59D-2DE4C51B8DD1}" presName="background2" presStyleLbl="node2" presStyleIdx="0" presStyleCnt="3"/>
      <dgm:spPr/>
    </dgm:pt>
    <dgm:pt modelId="{B367F23C-4FC6-4F66-BAF9-CA5B19FFC1EB}" type="pres">
      <dgm:prSet presAssocID="{EC81CBA5-5D08-4EA2-B59D-2DE4C51B8DD1}" presName="text2" presStyleLbl="fgAcc2" presStyleIdx="0" presStyleCnt="3">
        <dgm:presLayoutVars>
          <dgm:chPref val="3"/>
        </dgm:presLayoutVars>
      </dgm:prSet>
      <dgm:spPr/>
      <dgm:t>
        <a:bodyPr/>
        <a:lstStyle/>
        <a:p>
          <a:endParaRPr lang="lt-LT"/>
        </a:p>
      </dgm:t>
    </dgm:pt>
    <dgm:pt modelId="{E5AB249B-9A5A-43C7-985C-C8E3E275B66A}" type="pres">
      <dgm:prSet presAssocID="{EC81CBA5-5D08-4EA2-B59D-2DE4C51B8DD1}" presName="hierChild3" presStyleCnt="0"/>
      <dgm:spPr/>
    </dgm:pt>
    <dgm:pt modelId="{2B1A6C88-5E81-4582-902A-0C6A64CB3B3B}" type="pres">
      <dgm:prSet presAssocID="{2CA56FDB-75EF-4447-8139-D8803CAAC748}" presName="Name10" presStyleLbl="parChTrans1D2" presStyleIdx="1" presStyleCnt="3"/>
      <dgm:spPr/>
      <dgm:t>
        <a:bodyPr/>
        <a:lstStyle/>
        <a:p>
          <a:endParaRPr lang="lt-LT"/>
        </a:p>
      </dgm:t>
    </dgm:pt>
    <dgm:pt modelId="{F92B6B85-14CF-438D-9B78-01342AB500BD}" type="pres">
      <dgm:prSet presAssocID="{BB77D637-2531-48C5-971A-C74AA106179E}" presName="hierRoot2" presStyleCnt="0"/>
      <dgm:spPr/>
    </dgm:pt>
    <dgm:pt modelId="{7B991305-EF0B-471A-8CED-F2BE56CA229E}" type="pres">
      <dgm:prSet presAssocID="{BB77D637-2531-48C5-971A-C74AA106179E}" presName="composite2" presStyleCnt="0"/>
      <dgm:spPr/>
    </dgm:pt>
    <dgm:pt modelId="{AF356DA6-C288-4739-8969-6CA7D567C910}" type="pres">
      <dgm:prSet presAssocID="{BB77D637-2531-48C5-971A-C74AA106179E}" presName="background2" presStyleLbl="node2" presStyleIdx="1" presStyleCnt="3"/>
      <dgm:spPr/>
    </dgm:pt>
    <dgm:pt modelId="{39451611-DB10-46E2-9640-085192E9F8D8}" type="pres">
      <dgm:prSet presAssocID="{BB77D637-2531-48C5-971A-C74AA106179E}" presName="text2" presStyleLbl="fgAcc2" presStyleIdx="1" presStyleCnt="3">
        <dgm:presLayoutVars>
          <dgm:chPref val="3"/>
        </dgm:presLayoutVars>
      </dgm:prSet>
      <dgm:spPr/>
      <dgm:t>
        <a:bodyPr/>
        <a:lstStyle/>
        <a:p>
          <a:endParaRPr lang="lt-LT"/>
        </a:p>
      </dgm:t>
    </dgm:pt>
    <dgm:pt modelId="{194EF23A-9639-4190-AB65-84F7C5389F56}" type="pres">
      <dgm:prSet presAssocID="{BB77D637-2531-48C5-971A-C74AA106179E}" presName="hierChild3" presStyleCnt="0"/>
      <dgm:spPr/>
    </dgm:pt>
    <dgm:pt modelId="{D80B562E-54F3-49B7-B85F-A71595FBBEB0}" type="pres">
      <dgm:prSet presAssocID="{9D59A908-C9E0-477E-95CA-4788E9412461}" presName="Name10" presStyleLbl="parChTrans1D2" presStyleIdx="2" presStyleCnt="3"/>
      <dgm:spPr/>
      <dgm:t>
        <a:bodyPr/>
        <a:lstStyle/>
        <a:p>
          <a:endParaRPr lang="lt-LT"/>
        </a:p>
      </dgm:t>
    </dgm:pt>
    <dgm:pt modelId="{4D14884E-474B-4651-9D4D-BF5CCBF499D3}" type="pres">
      <dgm:prSet presAssocID="{9C6E863F-9C25-4D41-8E2B-EB9A9E54ADF9}" presName="hierRoot2" presStyleCnt="0"/>
      <dgm:spPr/>
    </dgm:pt>
    <dgm:pt modelId="{07C77EC1-3B3D-497D-82A5-DF2875B18BF6}" type="pres">
      <dgm:prSet presAssocID="{9C6E863F-9C25-4D41-8E2B-EB9A9E54ADF9}" presName="composite2" presStyleCnt="0"/>
      <dgm:spPr/>
    </dgm:pt>
    <dgm:pt modelId="{AFAA2D53-1FF1-4322-9E80-BA1DB2A4DD44}" type="pres">
      <dgm:prSet presAssocID="{9C6E863F-9C25-4D41-8E2B-EB9A9E54ADF9}" presName="background2" presStyleLbl="node2" presStyleIdx="2" presStyleCnt="3"/>
      <dgm:spPr/>
    </dgm:pt>
    <dgm:pt modelId="{70609B46-8D1A-445B-A66B-1510771BFF64}" type="pres">
      <dgm:prSet presAssocID="{9C6E863F-9C25-4D41-8E2B-EB9A9E54ADF9}" presName="text2" presStyleLbl="fgAcc2" presStyleIdx="2" presStyleCnt="3" custLinFactY="-43364" custLinFactNeighborX="9249" custLinFactNeighborY="-100000">
        <dgm:presLayoutVars>
          <dgm:chPref val="3"/>
        </dgm:presLayoutVars>
      </dgm:prSet>
      <dgm:spPr/>
      <dgm:t>
        <a:bodyPr/>
        <a:lstStyle/>
        <a:p>
          <a:endParaRPr lang="lt-LT"/>
        </a:p>
      </dgm:t>
    </dgm:pt>
    <dgm:pt modelId="{6FF74F22-634A-4119-851A-761FBBDC994A}" type="pres">
      <dgm:prSet presAssocID="{9C6E863F-9C25-4D41-8E2B-EB9A9E54ADF9}" presName="hierChild3" presStyleCnt="0"/>
      <dgm:spPr/>
    </dgm:pt>
    <dgm:pt modelId="{C25409D8-6E7D-4736-B414-BA25B110410E}" type="pres">
      <dgm:prSet presAssocID="{A5EB4C32-C840-4528-98F7-A7CDFFBA17F4}" presName="Name17" presStyleLbl="parChTrans1D3" presStyleIdx="0" presStyleCnt="1"/>
      <dgm:spPr/>
      <dgm:t>
        <a:bodyPr/>
        <a:lstStyle/>
        <a:p>
          <a:endParaRPr lang="lt-LT"/>
        </a:p>
      </dgm:t>
    </dgm:pt>
    <dgm:pt modelId="{03B11BB1-2675-4238-B323-46A50ECBE181}" type="pres">
      <dgm:prSet presAssocID="{737DF0F6-1AA0-4964-8946-22969640B638}" presName="hierRoot3" presStyleCnt="0"/>
      <dgm:spPr/>
    </dgm:pt>
    <dgm:pt modelId="{AC1A153B-E6DA-45A9-B3D2-497DF4F82A4E}" type="pres">
      <dgm:prSet presAssocID="{737DF0F6-1AA0-4964-8946-22969640B638}" presName="composite3" presStyleCnt="0"/>
      <dgm:spPr/>
    </dgm:pt>
    <dgm:pt modelId="{0E44AE0B-63E9-40D9-B48F-261AA47F3606}" type="pres">
      <dgm:prSet presAssocID="{737DF0F6-1AA0-4964-8946-22969640B638}" presName="background3" presStyleLbl="node3" presStyleIdx="0" presStyleCnt="1"/>
      <dgm:spPr/>
    </dgm:pt>
    <dgm:pt modelId="{F8C0747B-CB6D-4D43-804D-59E18CD958BF}" type="pres">
      <dgm:prSet presAssocID="{737DF0F6-1AA0-4964-8946-22969640B638}" presName="text3" presStyleLbl="fgAcc3" presStyleIdx="0" presStyleCnt="1" custLinFactY="-47447" custLinFactNeighborX="9301" custLinFactNeighborY="-100000">
        <dgm:presLayoutVars>
          <dgm:chPref val="3"/>
        </dgm:presLayoutVars>
      </dgm:prSet>
      <dgm:spPr/>
      <dgm:t>
        <a:bodyPr/>
        <a:lstStyle/>
        <a:p>
          <a:endParaRPr lang="lt-LT"/>
        </a:p>
      </dgm:t>
    </dgm:pt>
    <dgm:pt modelId="{66D1CAC9-55E4-496E-876B-DE390D1E4E10}" type="pres">
      <dgm:prSet presAssocID="{737DF0F6-1AA0-4964-8946-22969640B638}" presName="hierChild4" presStyleCnt="0"/>
      <dgm:spPr/>
    </dgm:pt>
  </dgm:ptLst>
  <dgm:cxnLst>
    <dgm:cxn modelId="{324D9256-6FA3-4081-A1A2-09DB6D1A5FD7}" type="presOf" srcId="{9C6E863F-9C25-4D41-8E2B-EB9A9E54ADF9}" destId="{70609B46-8D1A-445B-A66B-1510771BFF64}" srcOrd="0" destOrd="0" presId="urn:microsoft.com/office/officeart/2005/8/layout/hierarchy1"/>
    <dgm:cxn modelId="{8D1788C6-94CC-4CBE-905E-1AF3C9530DC8}" type="presOf" srcId="{B1AF7FED-D8DF-42B3-BBBA-529A01732755}" destId="{CBCA90E2-8C98-4508-B4CD-CF9B1FEE4B76}" srcOrd="0" destOrd="0" presId="urn:microsoft.com/office/officeart/2005/8/layout/hierarchy1"/>
    <dgm:cxn modelId="{6406840D-08F8-45AA-BA82-6981216C3E8E}" type="presOf" srcId="{A5EB4C32-C840-4528-98F7-A7CDFFBA17F4}" destId="{C25409D8-6E7D-4736-B414-BA25B110410E}" srcOrd="0" destOrd="0" presId="urn:microsoft.com/office/officeart/2005/8/layout/hierarchy1"/>
    <dgm:cxn modelId="{6D0C1F79-199B-4240-9CB7-638ECA82A5F8}" srcId="{B19FD2A6-704E-467E-A1B1-4324520AD49F}" destId="{B1AF7FED-D8DF-42B3-BBBA-529A01732755}" srcOrd="0" destOrd="0" parTransId="{1566F6DD-82E0-471D-888A-4824E2DAE73F}" sibTransId="{F8863FB8-881E-42A5-981A-1ABF21055E3E}"/>
    <dgm:cxn modelId="{6C8E8047-27E0-4FA7-8485-E6E0148D57B7}" type="presOf" srcId="{2CA56FDB-75EF-4447-8139-D8803CAAC748}" destId="{2B1A6C88-5E81-4582-902A-0C6A64CB3B3B}" srcOrd="0" destOrd="0" presId="urn:microsoft.com/office/officeart/2005/8/layout/hierarchy1"/>
    <dgm:cxn modelId="{F6D9DCE2-04E7-49E9-A14A-673D48521CCD}" srcId="{9C6E863F-9C25-4D41-8E2B-EB9A9E54ADF9}" destId="{737DF0F6-1AA0-4964-8946-22969640B638}" srcOrd="0" destOrd="0" parTransId="{A5EB4C32-C840-4528-98F7-A7CDFFBA17F4}" sibTransId="{E37E2928-1AAA-46B7-AE6C-F3B2F95BB8FB}"/>
    <dgm:cxn modelId="{C47AB586-C53D-40DC-8839-F48127771734}" srcId="{B1AF7FED-D8DF-42B3-BBBA-529A01732755}" destId="{EC81CBA5-5D08-4EA2-B59D-2DE4C51B8DD1}" srcOrd="0" destOrd="0" parTransId="{A1F1CF07-035B-49E0-89B4-4B4795C997B6}" sibTransId="{A78E7E1B-95BB-4C75-A37E-1EBF419394D0}"/>
    <dgm:cxn modelId="{F7EDD393-7A88-4BAE-A115-C20C727075CB}" type="presOf" srcId="{BB77D637-2531-48C5-971A-C74AA106179E}" destId="{39451611-DB10-46E2-9640-085192E9F8D8}" srcOrd="0" destOrd="0" presId="urn:microsoft.com/office/officeart/2005/8/layout/hierarchy1"/>
    <dgm:cxn modelId="{3BA7069C-FA69-4192-A775-2EC2E3ECFC0F}" type="presOf" srcId="{B19FD2A6-704E-467E-A1B1-4324520AD49F}" destId="{32D92375-4219-49D7-9E95-C2A9EE43CAC4}" srcOrd="0" destOrd="0" presId="urn:microsoft.com/office/officeart/2005/8/layout/hierarchy1"/>
    <dgm:cxn modelId="{A5311A8B-EB50-45A9-92D1-A80BA7C8F567}" type="presOf" srcId="{A1F1CF07-035B-49E0-89B4-4B4795C997B6}" destId="{EF2AF482-EBD6-40AC-811C-3E8AAF03BC08}" srcOrd="0" destOrd="0" presId="urn:microsoft.com/office/officeart/2005/8/layout/hierarchy1"/>
    <dgm:cxn modelId="{DB4E4980-1F0C-4A4B-80B2-4E43415D44DE}" srcId="{B1AF7FED-D8DF-42B3-BBBA-529A01732755}" destId="{BB77D637-2531-48C5-971A-C74AA106179E}" srcOrd="1" destOrd="0" parTransId="{2CA56FDB-75EF-4447-8139-D8803CAAC748}" sibTransId="{790C5AE7-E408-4C40-A1DF-A86295328A27}"/>
    <dgm:cxn modelId="{8DEBA063-E356-4DDC-A3EF-516E66E052BB}" type="presOf" srcId="{9D59A908-C9E0-477E-95CA-4788E9412461}" destId="{D80B562E-54F3-49B7-B85F-A71595FBBEB0}" srcOrd="0" destOrd="0" presId="urn:microsoft.com/office/officeart/2005/8/layout/hierarchy1"/>
    <dgm:cxn modelId="{FB879FBF-6E79-4450-8BCA-AE55AA048DA2}" type="presOf" srcId="{EC81CBA5-5D08-4EA2-B59D-2DE4C51B8DD1}" destId="{B367F23C-4FC6-4F66-BAF9-CA5B19FFC1EB}" srcOrd="0" destOrd="0" presId="urn:microsoft.com/office/officeart/2005/8/layout/hierarchy1"/>
    <dgm:cxn modelId="{94A846FC-594E-4A00-A49C-6FF7A1C1C516}" srcId="{B1AF7FED-D8DF-42B3-BBBA-529A01732755}" destId="{9C6E863F-9C25-4D41-8E2B-EB9A9E54ADF9}" srcOrd="2" destOrd="0" parTransId="{9D59A908-C9E0-477E-95CA-4788E9412461}" sibTransId="{54EB193A-DE2C-4329-AAA3-E62F92EA10AF}"/>
    <dgm:cxn modelId="{88C14C16-BD7C-4B2A-9457-4EF1FE474BC3}" type="presOf" srcId="{737DF0F6-1AA0-4964-8946-22969640B638}" destId="{F8C0747B-CB6D-4D43-804D-59E18CD958BF}" srcOrd="0" destOrd="0" presId="urn:microsoft.com/office/officeart/2005/8/layout/hierarchy1"/>
    <dgm:cxn modelId="{BDD5A049-E973-4F29-B6B5-098EC8E7D312}" type="presParOf" srcId="{32D92375-4219-49D7-9E95-C2A9EE43CAC4}" destId="{AD853B89-0968-40A0-AF02-B5C4CECA8D9B}" srcOrd="0" destOrd="0" presId="urn:microsoft.com/office/officeart/2005/8/layout/hierarchy1"/>
    <dgm:cxn modelId="{615AE622-6FC7-4BF5-A97E-3537022BFBC2}" type="presParOf" srcId="{AD853B89-0968-40A0-AF02-B5C4CECA8D9B}" destId="{EB0BCC71-9D71-4752-8252-AF6A8E262512}" srcOrd="0" destOrd="0" presId="urn:microsoft.com/office/officeart/2005/8/layout/hierarchy1"/>
    <dgm:cxn modelId="{990C81CE-FE83-4D52-8A4F-BDB68388588E}" type="presParOf" srcId="{EB0BCC71-9D71-4752-8252-AF6A8E262512}" destId="{033E6E5A-FB3C-4FDE-AEF1-87AE3C7956FF}" srcOrd="0" destOrd="0" presId="urn:microsoft.com/office/officeart/2005/8/layout/hierarchy1"/>
    <dgm:cxn modelId="{138CECEA-4F48-459E-BE99-7E44DDF8396A}" type="presParOf" srcId="{EB0BCC71-9D71-4752-8252-AF6A8E262512}" destId="{CBCA90E2-8C98-4508-B4CD-CF9B1FEE4B76}" srcOrd="1" destOrd="0" presId="urn:microsoft.com/office/officeart/2005/8/layout/hierarchy1"/>
    <dgm:cxn modelId="{D6EAFA38-9DA0-417D-A7C4-4D9988330EF3}" type="presParOf" srcId="{AD853B89-0968-40A0-AF02-B5C4CECA8D9B}" destId="{AFDE847E-5C9C-4E74-A280-A7985E01E6BF}" srcOrd="1" destOrd="0" presId="urn:microsoft.com/office/officeart/2005/8/layout/hierarchy1"/>
    <dgm:cxn modelId="{E8985C46-7695-4C92-AD6F-A87938843BF2}" type="presParOf" srcId="{AFDE847E-5C9C-4E74-A280-A7985E01E6BF}" destId="{EF2AF482-EBD6-40AC-811C-3E8AAF03BC08}" srcOrd="0" destOrd="0" presId="urn:microsoft.com/office/officeart/2005/8/layout/hierarchy1"/>
    <dgm:cxn modelId="{5EF69876-542E-4B41-88F3-922CD87C171F}" type="presParOf" srcId="{AFDE847E-5C9C-4E74-A280-A7985E01E6BF}" destId="{7B53148A-2058-4B1B-8B66-37D98A22B4B3}" srcOrd="1" destOrd="0" presId="urn:microsoft.com/office/officeart/2005/8/layout/hierarchy1"/>
    <dgm:cxn modelId="{01568427-85BE-407B-88CF-EC6B6B5AD295}" type="presParOf" srcId="{7B53148A-2058-4B1B-8B66-37D98A22B4B3}" destId="{CD73BABD-F96A-4A91-9425-0FBF50120B4A}" srcOrd="0" destOrd="0" presId="urn:microsoft.com/office/officeart/2005/8/layout/hierarchy1"/>
    <dgm:cxn modelId="{E4D1C1A9-CC16-4FFC-B3FB-4847390C3AD9}" type="presParOf" srcId="{CD73BABD-F96A-4A91-9425-0FBF50120B4A}" destId="{65113A32-0FFB-4DCB-B278-CA9536EA4977}" srcOrd="0" destOrd="0" presId="urn:microsoft.com/office/officeart/2005/8/layout/hierarchy1"/>
    <dgm:cxn modelId="{271B4974-FB56-4268-990D-1A002F5F65A0}" type="presParOf" srcId="{CD73BABD-F96A-4A91-9425-0FBF50120B4A}" destId="{B367F23C-4FC6-4F66-BAF9-CA5B19FFC1EB}" srcOrd="1" destOrd="0" presId="urn:microsoft.com/office/officeart/2005/8/layout/hierarchy1"/>
    <dgm:cxn modelId="{76A7A023-369E-41E9-97FF-29A3C8EAAE2C}" type="presParOf" srcId="{7B53148A-2058-4B1B-8B66-37D98A22B4B3}" destId="{E5AB249B-9A5A-43C7-985C-C8E3E275B66A}" srcOrd="1" destOrd="0" presId="urn:microsoft.com/office/officeart/2005/8/layout/hierarchy1"/>
    <dgm:cxn modelId="{2700F594-73DA-45DA-B7FF-FA09D1CB67F2}" type="presParOf" srcId="{AFDE847E-5C9C-4E74-A280-A7985E01E6BF}" destId="{2B1A6C88-5E81-4582-902A-0C6A64CB3B3B}" srcOrd="2" destOrd="0" presId="urn:microsoft.com/office/officeart/2005/8/layout/hierarchy1"/>
    <dgm:cxn modelId="{D3F63D38-67EA-44E6-AEAF-D703673B7A4A}" type="presParOf" srcId="{AFDE847E-5C9C-4E74-A280-A7985E01E6BF}" destId="{F92B6B85-14CF-438D-9B78-01342AB500BD}" srcOrd="3" destOrd="0" presId="urn:microsoft.com/office/officeart/2005/8/layout/hierarchy1"/>
    <dgm:cxn modelId="{7126F267-81AE-45D7-A972-F07360DD5C92}" type="presParOf" srcId="{F92B6B85-14CF-438D-9B78-01342AB500BD}" destId="{7B991305-EF0B-471A-8CED-F2BE56CA229E}" srcOrd="0" destOrd="0" presId="urn:microsoft.com/office/officeart/2005/8/layout/hierarchy1"/>
    <dgm:cxn modelId="{6D7EB2AB-54D4-4D13-AD5F-6E552F379631}" type="presParOf" srcId="{7B991305-EF0B-471A-8CED-F2BE56CA229E}" destId="{AF356DA6-C288-4739-8969-6CA7D567C910}" srcOrd="0" destOrd="0" presId="urn:microsoft.com/office/officeart/2005/8/layout/hierarchy1"/>
    <dgm:cxn modelId="{EDC581F5-51D0-4077-8BAD-DFD8634E2001}" type="presParOf" srcId="{7B991305-EF0B-471A-8CED-F2BE56CA229E}" destId="{39451611-DB10-46E2-9640-085192E9F8D8}" srcOrd="1" destOrd="0" presId="urn:microsoft.com/office/officeart/2005/8/layout/hierarchy1"/>
    <dgm:cxn modelId="{88739441-47CB-48EC-A742-CCE1B72CBC85}" type="presParOf" srcId="{F92B6B85-14CF-438D-9B78-01342AB500BD}" destId="{194EF23A-9639-4190-AB65-84F7C5389F56}" srcOrd="1" destOrd="0" presId="urn:microsoft.com/office/officeart/2005/8/layout/hierarchy1"/>
    <dgm:cxn modelId="{FA197FDB-0421-442A-9A65-DCDD7AFD2E2D}" type="presParOf" srcId="{AFDE847E-5C9C-4E74-A280-A7985E01E6BF}" destId="{D80B562E-54F3-49B7-B85F-A71595FBBEB0}" srcOrd="4" destOrd="0" presId="urn:microsoft.com/office/officeart/2005/8/layout/hierarchy1"/>
    <dgm:cxn modelId="{7C395000-69B3-47BA-8666-649F90B7CF52}" type="presParOf" srcId="{AFDE847E-5C9C-4E74-A280-A7985E01E6BF}" destId="{4D14884E-474B-4651-9D4D-BF5CCBF499D3}" srcOrd="5" destOrd="0" presId="urn:microsoft.com/office/officeart/2005/8/layout/hierarchy1"/>
    <dgm:cxn modelId="{98B01847-3308-4504-BCDD-E15EE0634728}" type="presParOf" srcId="{4D14884E-474B-4651-9D4D-BF5CCBF499D3}" destId="{07C77EC1-3B3D-497D-82A5-DF2875B18BF6}" srcOrd="0" destOrd="0" presId="urn:microsoft.com/office/officeart/2005/8/layout/hierarchy1"/>
    <dgm:cxn modelId="{F6B1FCB2-B891-40D2-964B-901C4C6EC113}" type="presParOf" srcId="{07C77EC1-3B3D-497D-82A5-DF2875B18BF6}" destId="{AFAA2D53-1FF1-4322-9E80-BA1DB2A4DD44}" srcOrd="0" destOrd="0" presId="urn:microsoft.com/office/officeart/2005/8/layout/hierarchy1"/>
    <dgm:cxn modelId="{96C2B791-DE13-4675-8952-4F1AFF1103EC}" type="presParOf" srcId="{07C77EC1-3B3D-497D-82A5-DF2875B18BF6}" destId="{70609B46-8D1A-445B-A66B-1510771BFF64}" srcOrd="1" destOrd="0" presId="urn:microsoft.com/office/officeart/2005/8/layout/hierarchy1"/>
    <dgm:cxn modelId="{EB37FBA9-A9C7-4319-BA69-4DD52268B0FA}" type="presParOf" srcId="{4D14884E-474B-4651-9D4D-BF5CCBF499D3}" destId="{6FF74F22-634A-4119-851A-761FBBDC994A}" srcOrd="1" destOrd="0" presId="urn:microsoft.com/office/officeart/2005/8/layout/hierarchy1"/>
    <dgm:cxn modelId="{15DA0DFE-A6BE-48A0-AD4C-E179FA25B8D6}" type="presParOf" srcId="{6FF74F22-634A-4119-851A-761FBBDC994A}" destId="{C25409D8-6E7D-4736-B414-BA25B110410E}" srcOrd="0" destOrd="0" presId="urn:microsoft.com/office/officeart/2005/8/layout/hierarchy1"/>
    <dgm:cxn modelId="{08F2C9E4-799C-444E-8172-91B15905C44E}" type="presParOf" srcId="{6FF74F22-634A-4119-851A-761FBBDC994A}" destId="{03B11BB1-2675-4238-B323-46A50ECBE181}" srcOrd="1" destOrd="0" presId="urn:microsoft.com/office/officeart/2005/8/layout/hierarchy1"/>
    <dgm:cxn modelId="{7D796B77-6B31-42B0-BC08-FDF6468C3B73}" type="presParOf" srcId="{03B11BB1-2675-4238-B323-46A50ECBE181}" destId="{AC1A153B-E6DA-45A9-B3D2-497DF4F82A4E}" srcOrd="0" destOrd="0" presId="urn:microsoft.com/office/officeart/2005/8/layout/hierarchy1"/>
    <dgm:cxn modelId="{927E6278-AF19-4C5C-A8BC-15B09D6D6CEF}" type="presParOf" srcId="{AC1A153B-E6DA-45A9-B3D2-497DF4F82A4E}" destId="{0E44AE0B-63E9-40D9-B48F-261AA47F3606}" srcOrd="0" destOrd="0" presId="urn:microsoft.com/office/officeart/2005/8/layout/hierarchy1"/>
    <dgm:cxn modelId="{3C3C2D73-5B2F-4AB4-B5FA-9B7F4C6A6EE8}" type="presParOf" srcId="{AC1A153B-E6DA-45A9-B3D2-497DF4F82A4E}" destId="{F8C0747B-CB6D-4D43-804D-59E18CD958BF}" srcOrd="1" destOrd="0" presId="urn:microsoft.com/office/officeart/2005/8/layout/hierarchy1"/>
    <dgm:cxn modelId="{AFD6934C-6007-424D-8988-8AE50497BBEA}" type="presParOf" srcId="{03B11BB1-2675-4238-B323-46A50ECBE181}" destId="{66D1CAC9-55E4-496E-876B-DE390D1E4E1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270252C-20C3-4758-AFB2-9FB65EC44157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lt-LT"/>
        </a:p>
      </dgm:t>
    </dgm:pt>
    <dgm:pt modelId="{5728C1FB-8D91-41BD-9DD8-5A84D277E7B0}">
      <dgm:prSet phldrT="[Text]"/>
      <dgm:spPr/>
      <dgm:t>
        <a:bodyPr/>
        <a:lstStyle/>
        <a:p>
          <a:r>
            <a:rPr lang="lt-LT" dirty="0" smtClean="0"/>
            <a:t>20,3</a:t>
          </a:r>
          <a:r>
            <a:rPr lang="en-US" dirty="0" smtClean="0"/>
            <a:t>%</a:t>
          </a:r>
          <a:r>
            <a:rPr lang="lt-LT" dirty="0" smtClean="0"/>
            <a:t> RES</a:t>
          </a:r>
          <a:endParaRPr lang="lt-LT" dirty="0"/>
        </a:p>
      </dgm:t>
    </dgm:pt>
    <dgm:pt modelId="{680857A4-908A-40DD-B48C-8C33C197BCD0}" type="parTrans" cxnId="{FA1149F0-FC70-453F-A169-343C298F0C00}">
      <dgm:prSet/>
      <dgm:spPr/>
      <dgm:t>
        <a:bodyPr/>
        <a:lstStyle/>
        <a:p>
          <a:endParaRPr lang="lt-LT"/>
        </a:p>
      </dgm:t>
    </dgm:pt>
    <dgm:pt modelId="{44C638E2-77C2-4FE3-9992-142CE84AD359}" type="sibTrans" cxnId="{FA1149F0-FC70-453F-A169-343C298F0C00}">
      <dgm:prSet/>
      <dgm:spPr/>
      <dgm:t>
        <a:bodyPr/>
        <a:lstStyle/>
        <a:p>
          <a:endParaRPr lang="lt-LT"/>
        </a:p>
      </dgm:t>
    </dgm:pt>
    <dgm:pt modelId="{E8CA2F2D-AFC9-4E3E-99DC-EE53D3756889}">
      <dgm:prSet phldrT="[Text]"/>
      <dgm:spPr/>
      <dgm:t>
        <a:bodyPr/>
        <a:lstStyle/>
        <a:p>
          <a:r>
            <a:rPr lang="lt-LT" dirty="0" smtClean="0"/>
            <a:t>10,9</a:t>
          </a:r>
          <a:r>
            <a:rPr lang="en-US" dirty="0" smtClean="0"/>
            <a:t>%</a:t>
          </a:r>
          <a:r>
            <a:rPr lang="lt-LT" dirty="0" smtClean="0"/>
            <a:t> RES </a:t>
          </a:r>
          <a:r>
            <a:rPr lang="en-US" noProof="0" dirty="0" smtClean="0"/>
            <a:t>Electricity</a:t>
          </a:r>
          <a:endParaRPr lang="en-US" noProof="0" dirty="0"/>
        </a:p>
      </dgm:t>
    </dgm:pt>
    <dgm:pt modelId="{8AAB5EDC-4B25-4152-8D42-40A441FD49DC}" type="parTrans" cxnId="{D5A0CE01-2350-4C6C-ABC5-DCA18B8478F2}">
      <dgm:prSet/>
      <dgm:spPr/>
      <dgm:t>
        <a:bodyPr/>
        <a:lstStyle/>
        <a:p>
          <a:endParaRPr lang="lt-LT"/>
        </a:p>
      </dgm:t>
    </dgm:pt>
    <dgm:pt modelId="{C7334E2B-B4CF-4CD7-BDC4-4080944211CD}" type="sibTrans" cxnId="{D5A0CE01-2350-4C6C-ABC5-DCA18B8478F2}">
      <dgm:prSet/>
      <dgm:spPr/>
      <dgm:t>
        <a:bodyPr/>
        <a:lstStyle/>
        <a:p>
          <a:endParaRPr lang="lt-LT"/>
        </a:p>
      </dgm:t>
    </dgm:pt>
    <dgm:pt modelId="{8C630A77-CBCA-410E-924C-35D8E53403D1}">
      <dgm:prSet/>
      <dgm:spPr/>
      <dgm:t>
        <a:bodyPr/>
        <a:lstStyle/>
        <a:p>
          <a:r>
            <a:rPr lang="lt-LT" dirty="0" smtClean="0"/>
            <a:t>27,2</a:t>
          </a:r>
          <a:r>
            <a:rPr lang="en-US" dirty="0" smtClean="0"/>
            <a:t>%</a:t>
          </a:r>
          <a:r>
            <a:rPr lang="lt-LT" dirty="0" smtClean="0"/>
            <a:t> RES CHS</a:t>
          </a:r>
          <a:endParaRPr lang="lt-LT" dirty="0"/>
        </a:p>
      </dgm:t>
    </dgm:pt>
    <dgm:pt modelId="{83ED3150-272E-494D-888E-BF04A0AB3D3D}" type="parTrans" cxnId="{4A057B8D-0181-4948-8E98-A9C08C7FE353}">
      <dgm:prSet/>
      <dgm:spPr/>
      <dgm:t>
        <a:bodyPr/>
        <a:lstStyle/>
        <a:p>
          <a:endParaRPr lang="lt-LT"/>
        </a:p>
      </dgm:t>
    </dgm:pt>
    <dgm:pt modelId="{6C1AD9C5-DFD6-4E7E-B179-E5527FA8DDFE}" type="sibTrans" cxnId="{4A057B8D-0181-4948-8E98-A9C08C7FE353}">
      <dgm:prSet/>
      <dgm:spPr/>
      <dgm:t>
        <a:bodyPr/>
        <a:lstStyle/>
        <a:p>
          <a:endParaRPr lang="lt-LT"/>
        </a:p>
      </dgm:t>
    </dgm:pt>
    <dgm:pt modelId="{AF7E569E-749E-4F30-B2B5-9C532D2E71F9}">
      <dgm:prSet/>
      <dgm:spPr/>
      <dgm:t>
        <a:bodyPr/>
        <a:lstStyle/>
        <a:p>
          <a:r>
            <a:rPr lang="lt-LT" dirty="0" smtClean="0"/>
            <a:t>3,7</a:t>
          </a:r>
          <a:r>
            <a:rPr lang="en-US" dirty="0" smtClean="0"/>
            <a:t>%</a:t>
          </a:r>
          <a:r>
            <a:rPr lang="lt-LT" dirty="0" smtClean="0"/>
            <a:t> RES </a:t>
          </a:r>
          <a:r>
            <a:rPr lang="en-US" dirty="0" smtClean="0"/>
            <a:t>Transport</a:t>
          </a:r>
          <a:endParaRPr lang="lt-LT" dirty="0"/>
        </a:p>
      </dgm:t>
    </dgm:pt>
    <dgm:pt modelId="{D57CF95B-4203-4A73-8786-A1DF4F22C1FD}" type="parTrans" cxnId="{D15686E3-679F-45F6-AA46-5E2D71AA23BC}">
      <dgm:prSet/>
      <dgm:spPr/>
      <dgm:t>
        <a:bodyPr/>
        <a:lstStyle/>
        <a:p>
          <a:endParaRPr lang="lt-LT"/>
        </a:p>
      </dgm:t>
    </dgm:pt>
    <dgm:pt modelId="{A26F68C7-B936-4EC5-A91D-5AD9EC6F1AA9}" type="sibTrans" cxnId="{D15686E3-679F-45F6-AA46-5E2D71AA23BC}">
      <dgm:prSet/>
      <dgm:spPr/>
      <dgm:t>
        <a:bodyPr/>
        <a:lstStyle/>
        <a:p>
          <a:endParaRPr lang="lt-LT"/>
        </a:p>
      </dgm:t>
    </dgm:pt>
    <dgm:pt modelId="{E7A1EC41-051B-45D4-B1A5-629C7D3F2D25}" type="pres">
      <dgm:prSet presAssocID="{B270252C-20C3-4758-AFB2-9FB65EC44157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lt-LT"/>
        </a:p>
      </dgm:t>
    </dgm:pt>
    <dgm:pt modelId="{E0BC2873-9A1A-4176-9840-9BC2CAE53EAA}" type="pres">
      <dgm:prSet presAssocID="{5728C1FB-8D91-41BD-9DD8-5A84D277E7B0}" presName="hierRoot1" presStyleCnt="0"/>
      <dgm:spPr/>
    </dgm:pt>
    <dgm:pt modelId="{F40852AF-3A62-46ED-BD34-6FB5128A6D24}" type="pres">
      <dgm:prSet presAssocID="{5728C1FB-8D91-41BD-9DD8-5A84D277E7B0}" presName="composite" presStyleCnt="0"/>
      <dgm:spPr/>
    </dgm:pt>
    <dgm:pt modelId="{64F41AC3-05B3-4952-94D3-0F2761D5649C}" type="pres">
      <dgm:prSet presAssocID="{5728C1FB-8D91-41BD-9DD8-5A84D277E7B0}" presName="background" presStyleLbl="node0" presStyleIdx="0" presStyleCnt="4"/>
      <dgm:spPr/>
    </dgm:pt>
    <dgm:pt modelId="{4564C840-28FB-40A7-ADF9-54D000D2B1D1}" type="pres">
      <dgm:prSet presAssocID="{5728C1FB-8D91-41BD-9DD8-5A84D277E7B0}" presName="text" presStyleLbl="fgAcc0" presStyleIdx="0" presStyleCnt="4">
        <dgm:presLayoutVars>
          <dgm:chPref val="3"/>
        </dgm:presLayoutVars>
      </dgm:prSet>
      <dgm:spPr/>
      <dgm:t>
        <a:bodyPr/>
        <a:lstStyle/>
        <a:p>
          <a:endParaRPr lang="lt-LT"/>
        </a:p>
      </dgm:t>
    </dgm:pt>
    <dgm:pt modelId="{F0CAAF8D-63FC-4F75-A5FF-C1E312AF4981}" type="pres">
      <dgm:prSet presAssocID="{5728C1FB-8D91-41BD-9DD8-5A84D277E7B0}" presName="hierChild2" presStyleCnt="0"/>
      <dgm:spPr/>
    </dgm:pt>
    <dgm:pt modelId="{EB68B8C6-4CED-4E52-896D-49A20B89DF41}" type="pres">
      <dgm:prSet presAssocID="{E8CA2F2D-AFC9-4E3E-99DC-EE53D3756889}" presName="hierRoot1" presStyleCnt="0"/>
      <dgm:spPr/>
    </dgm:pt>
    <dgm:pt modelId="{359C34B7-B0CC-4801-9D5D-A023C1A92537}" type="pres">
      <dgm:prSet presAssocID="{E8CA2F2D-AFC9-4E3E-99DC-EE53D3756889}" presName="composite" presStyleCnt="0"/>
      <dgm:spPr/>
    </dgm:pt>
    <dgm:pt modelId="{B7D1D791-CEBD-4DC0-AB02-244956691B29}" type="pres">
      <dgm:prSet presAssocID="{E8CA2F2D-AFC9-4E3E-99DC-EE53D3756889}" presName="background" presStyleLbl="node0" presStyleIdx="1" presStyleCnt="4"/>
      <dgm:spPr/>
    </dgm:pt>
    <dgm:pt modelId="{B53C151B-FCA3-400B-98AF-0AB63D6B5D40}" type="pres">
      <dgm:prSet presAssocID="{E8CA2F2D-AFC9-4E3E-99DC-EE53D3756889}" presName="text" presStyleLbl="fgAcc0" presStyleIdx="1" presStyleCnt="4">
        <dgm:presLayoutVars>
          <dgm:chPref val="3"/>
        </dgm:presLayoutVars>
      </dgm:prSet>
      <dgm:spPr/>
      <dgm:t>
        <a:bodyPr/>
        <a:lstStyle/>
        <a:p>
          <a:endParaRPr lang="lt-LT"/>
        </a:p>
      </dgm:t>
    </dgm:pt>
    <dgm:pt modelId="{427C0D6E-2785-45C4-A4F6-EB52E5C6779B}" type="pres">
      <dgm:prSet presAssocID="{E8CA2F2D-AFC9-4E3E-99DC-EE53D3756889}" presName="hierChild2" presStyleCnt="0"/>
      <dgm:spPr/>
    </dgm:pt>
    <dgm:pt modelId="{08ABEBA7-D1D9-450D-92D0-BA1A9E483741}" type="pres">
      <dgm:prSet presAssocID="{8C630A77-CBCA-410E-924C-35D8E53403D1}" presName="hierRoot1" presStyleCnt="0"/>
      <dgm:spPr/>
    </dgm:pt>
    <dgm:pt modelId="{4CC5C5A4-B28B-4AA0-80E2-A1010BE69B19}" type="pres">
      <dgm:prSet presAssocID="{8C630A77-CBCA-410E-924C-35D8E53403D1}" presName="composite" presStyleCnt="0"/>
      <dgm:spPr/>
    </dgm:pt>
    <dgm:pt modelId="{00DAB9BA-ABA2-45D2-894F-EDAD0D562140}" type="pres">
      <dgm:prSet presAssocID="{8C630A77-CBCA-410E-924C-35D8E53403D1}" presName="background" presStyleLbl="node0" presStyleIdx="2" presStyleCnt="4"/>
      <dgm:spPr/>
    </dgm:pt>
    <dgm:pt modelId="{61793057-DD84-4823-B6DE-59BBE62D3B70}" type="pres">
      <dgm:prSet presAssocID="{8C630A77-CBCA-410E-924C-35D8E53403D1}" presName="text" presStyleLbl="fgAcc0" presStyleIdx="2" presStyleCnt="4">
        <dgm:presLayoutVars>
          <dgm:chPref val="3"/>
        </dgm:presLayoutVars>
      </dgm:prSet>
      <dgm:spPr/>
      <dgm:t>
        <a:bodyPr/>
        <a:lstStyle/>
        <a:p>
          <a:endParaRPr lang="lt-LT"/>
        </a:p>
      </dgm:t>
    </dgm:pt>
    <dgm:pt modelId="{49FAEB4D-7B56-4228-97E2-8060759D8F64}" type="pres">
      <dgm:prSet presAssocID="{8C630A77-CBCA-410E-924C-35D8E53403D1}" presName="hierChild2" presStyleCnt="0"/>
      <dgm:spPr/>
    </dgm:pt>
    <dgm:pt modelId="{E4C80CE9-094A-455B-B1AA-D56986143929}" type="pres">
      <dgm:prSet presAssocID="{AF7E569E-749E-4F30-B2B5-9C532D2E71F9}" presName="hierRoot1" presStyleCnt="0"/>
      <dgm:spPr/>
    </dgm:pt>
    <dgm:pt modelId="{BDE87B8C-36F9-4410-8126-71866EFD60A1}" type="pres">
      <dgm:prSet presAssocID="{AF7E569E-749E-4F30-B2B5-9C532D2E71F9}" presName="composite" presStyleCnt="0"/>
      <dgm:spPr/>
    </dgm:pt>
    <dgm:pt modelId="{D89ADE50-4E26-4B52-97AA-7B11BFAD690F}" type="pres">
      <dgm:prSet presAssocID="{AF7E569E-749E-4F30-B2B5-9C532D2E71F9}" presName="background" presStyleLbl="node0" presStyleIdx="3" presStyleCnt="4"/>
      <dgm:spPr/>
    </dgm:pt>
    <dgm:pt modelId="{8CEAA0B3-5ECA-480F-B7F2-C38851DEDD5C}" type="pres">
      <dgm:prSet presAssocID="{AF7E569E-749E-4F30-B2B5-9C532D2E71F9}" presName="text" presStyleLbl="fgAcc0" presStyleIdx="3" presStyleCnt="4">
        <dgm:presLayoutVars>
          <dgm:chPref val="3"/>
        </dgm:presLayoutVars>
      </dgm:prSet>
      <dgm:spPr/>
      <dgm:t>
        <a:bodyPr/>
        <a:lstStyle/>
        <a:p>
          <a:endParaRPr lang="lt-LT"/>
        </a:p>
      </dgm:t>
    </dgm:pt>
    <dgm:pt modelId="{1240A4C8-8E0F-480F-B318-65667FAEBB04}" type="pres">
      <dgm:prSet presAssocID="{AF7E569E-749E-4F30-B2B5-9C532D2E71F9}" presName="hierChild2" presStyleCnt="0"/>
      <dgm:spPr/>
    </dgm:pt>
  </dgm:ptLst>
  <dgm:cxnLst>
    <dgm:cxn modelId="{3801D880-1F11-43E9-A8BD-2235E0E047D6}" type="presOf" srcId="{E8CA2F2D-AFC9-4E3E-99DC-EE53D3756889}" destId="{B53C151B-FCA3-400B-98AF-0AB63D6B5D40}" srcOrd="0" destOrd="0" presId="urn:microsoft.com/office/officeart/2005/8/layout/hierarchy1"/>
    <dgm:cxn modelId="{4A057B8D-0181-4948-8E98-A9C08C7FE353}" srcId="{B270252C-20C3-4758-AFB2-9FB65EC44157}" destId="{8C630A77-CBCA-410E-924C-35D8E53403D1}" srcOrd="2" destOrd="0" parTransId="{83ED3150-272E-494D-888E-BF04A0AB3D3D}" sibTransId="{6C1AD9C5-DFD6-4E7E-B179-E5527FA8DDFE}"/>
    <dgm:cxn modelId="{6298602E-2F5A-43F4-BBC8-D959397C734A}" type="presOf" srcId="{8C630A77-CBCA-410E-924C-35D8E53403D1}" destId="{61793057-DD84-4823-B6DE-59BBE62D3B70}" srcOrd="0" destOrd="0" presId="urn:microsoft.com/office/officeart/2005/8/layout/hierarchy1"/>
    <dgm:cxn modelId="{D15686E3-679F-45F6-AA46-5E2D71AA23BC}" srcId="{B270252C-20C3-4758-AFB2-9FB65EC44157}" destId="{AF7E569E-749E-4F30-B2B5-9C532D2E71F9}" srcOrd="3" destOrd="0" parTransId="{D57CF95B-4203-4A73-8786-A1DF4F22C1FD}" sibTransId="{A26F68C7-B936-4EC5-A91D-5AD9EC6F1AA9}"/>
    <dgm:cxn modelId="{D5A0CE01-2350-4C6C-ABC5-DCA18B8478F2}" srcId="{B270252C-20C3-4758-AFB2-9FB65EC44157}" destId="{E8CA2F2D-AFC9-4E3E-99DC-EE53D3756889}" srcOrd="1" destOrd="0" parTransId="{8AAB5EDC-4B25-4152-8D42-40A441FD49DC}" sibTransId="{C7334E2B-B4CF-4CD7-BDC4-4080944211CD}"/>
    <dgm:cxn modelId="{FA1149F0-FC70-453F-A169-343C298F0C00}" srcId="{B270252C-20C3-4758-AFB2-9FB65EC44157}" destId="{5728C1FB-8D91-41BD-9DD8-5A84D277E7B0}" srcOrd="0" destOrd="0" parTransId="{680857A4-908A-40DD-B48C-8C33C197BCD0}" sibTransId="{44C638E2-77C2-4FE3-9992-142CE84AD359}"/>
    <dgm:cxn modelId="{C268D1DD-B10E-4030-AB72-7B8602D9F283}" type="presOf" srcId="{B270252C-20C3-4758-AFB2-9FB65EC44157}" destId="{E7A1EC41-051B-45D4-B1A5-629C7D3F2D25}" srcOrd="0" destOrd="0" presId="urn:microsoft.com/office/officeart/2005/8/layout/hierarchy1"/>
    <dgm:cxn modelId="{4A087292-6E48-49DA-8F79-3B0D73A501B3}" type="presOf" srcId="{5728C1FB-8D91-41BD-9DD8-5A84D277E7B0}" destId="{4564C840-28FB-40A7-ADF9-54D000D2B1D1}" srcOrd="0" destOrd="0" presId="urn:microsoft.com/office/officeart/2005/8/layout/hierarchy1"/>
    <dgm:cxn modelId="{C05DA5A3-90A2-4772-ACE5-214635E8C65C}" type="presOf" srcId="{AF7E569E-749E-4F30-B2B5-9C532D2E71F9}" destId="{8CEAA0B3-5ECA-480F-B7F2-C38851DEDD5C}" srcOrd="0" destOrd="0" presId="urn:microsoft.com/office/officeart/2005/8/layout/hierarchy1"/>
    <dgm:cxn modelId="{EA88C115-B082-437F-998B-0A2F5BEE9A4C}" type="presParOf" srcId="{E7A1EC41-051B-45D4-B1A5-629C7D3F2D25}" destId="{E0BC2873-9A1A-4176-9840-9BC2CAE53EAA}" srcOrd="0" destOrd="0" presId="urn:microsoft.com/office/officeart/2005/8/layout/hierarchy1"/>
    <dgm:cxn modelId="{FC30C7A5-C56E-45B1-B9B8-EBF73435C46F}" type="presParOf" srcId="{E0BC2873-9A1A-4176-9840-9BC2CAE53EAA}" destId="{F40852AF-3A62-46ED-BD34-6FB5128A6D24}" srcOrd="0" destOrd="0" presId="urn:microsoft.com/office/officeart/2005/8/layout/hierarchy1"/>
    <dgm:cxn modelId="{E84A13CF-056C-434F-9A1E-47581727B3D7}" type="presParOf" srcId="{F40852AF-3A62-46ED-BD34-6FB5128A6D24}" destId="{64F41AC3-05B3-4952-94D3-0F2761D5649C}" srcOrd="0" destOrd="0" presId="urn:microsoft.com/office/officeart/2005/8/layout/hierarchy1"/>
    <dgm:cxn modelId="{6A86CC1F-D0EA-499A-ACAE-FA834D6A35EB}" type="presParOf" srcId="{F40852AF-3A62-46ED-BD34-6FB5128A6D24}" destId="{4564C840-28FB-40A7-ADF9-54D000D2B1D1}" srcOrd="1" destOrd="0" presId="urn:microsoft.com/office/officeart/2005/8/layout/hierarchy1"/>
    <dgm:cxn modelId="{2E877451-7466-4F20-9862-C398F5527163}" type="presParOf" srcId="{E0BC2873-9A1A-4176-9840-9BC2CAE53EAA}" destId="{F0CAAF8D-63FC-4F75-A5FF-C1E312AF4981}" srcOrd="1" destOrd="0" presId="urn:microsoft.com/office/officeart/2005/8/layout/hierarchy1"/>
    <dgm:cxn modelId="{E95F31EC-A695-4B3B-B4F7-BA0B5B2B2809}" type="presParOf" srcId="{E7A1EC41-051B-45D4-B1A5-629C7D3F2D25}" destId="{EB68B8C6-4CED-4E52-896D-49A20B89DF41}" srcOrd="1" destOrd="0" presId="urn:microsoft.com/office/officeart/2005/8/layout/hierarchy1"/>
    <dgm:cxn modelId="{04DBB086-A457-4F19-AF30-FB14F82E2BC5}" type="presParOf" srcId="{EB68B8C6-4CED-4E52-896D-49A20B89DF41}" destId="{359C34B7-B0CC-4801-9D5D-A023C1A92537}" srcOrd="0" destOrd="0" presId="urn:microsoft.com/office/officeart/2005/8/layout/hierarchy1"/>
    <dgm:cxn modelId="{1C09ADEC-1BC9-41B9-BF3B-647EAF6D76F5}" type="presParOf" srcId="{359C34B7-B0CC-4801-9D5D-A023C1A92537}" destId="{B7D1D791-CEBD-4DC0-AB02-244956691B29}" srcOrd="0" destOrd="0" presId="urn:microsoft.com/office/officeart/2005/8/layout/hierarchy1"/>
    <dgm:cxn modelId="{53AF9F11-4640-47CF-91F9-34588C58EF77}" type="presParOf" srcId="{359C34B7-B0CC-4801-9D5D-A023C1A92537}" destId="{B53C151B-FCA3-400B-98AF-0AB63D6B5D40}" srcOrd="1" destOrd="0" presId="urn:microsoft.com/office/officeart/2005/8/layout/hierarchy1"/>
    <dgm:cxn modelId="{E72B3F6C-F4C0-4920-BC49-0FF56CC29C97}" type="presParOf" srcId="{EB68B8C6-4CED-4E52-896D-49A20B89DF41}" destId="{427C0D6E-2785-45C4-A4F6-EB52E5C6779B}" srcOrd="1" destOrd="0" presId="urn:microsoft.com/office/officeart/2005/8/layout/hierarchy1"/>
    <dgm:cxn modelId="{593A676B-D6F3-4E7F-B0C0-AA44234D35E4}" type="presParOf" srcId="{E7A1EC41-051B-45D4-B1A5-629C7D3F2D25}" destId="{08ABEBA7-D1D9-450D-92D0-BA1A9E483741}" srcOrd="2" destOrd="0" presId="urn:microsoft.com/office/officeart/2005/8/layout/hierarchy1"/>
    <dgm:cxn modelId="{272817C2-35BB-4579-A4E4-7122C7BFD218}" type="presParOf" srcId="{08ABEBA7-D1D9-450D-92D0-BA1A9E483741}" destId="{4CC5C5A4-B28B-4AA0-80E2-A1010BE69B19}" srcOrd="0" destOrd="0" presId="urn:microsoft.com/office/officeart/2005/8/layout/hierarchy1"/>
    <dgm:cxn modelId="{106257E4-30CF-4798-A641-B4DEBC09BCE4}" type="presParOf" srcId="{4CC5C5A4-B28B-4AA0-80E2-A1010BE69B19}" destId="{00DAB9BA-ABA2-45D2-894F-EDAD0D562140}" srcOrd="0" destOrd="0" presId="urn:microsoft.com/office/officeart/2005/8/layout/hierarchy1"/>
    <dgm:cxn modelId="{5B0D0D09-1F53-4E12-853F-5E43D201F207}" type="presParOf" srcId="{4CC5C5A4-B28B-4AA0-80E2-A1010BE69B19}" destId="{61793057-DD84-4823-B6DE-59BBE62D3B70}" srcOrd="1" destOrd="0" presId="urn:microsoft.com/office/officeart/2005/8/layout/hierarchy1"/>
    <dgm:cxn modelId="{FC1BB5F1-D648-436E-B666-DF3991CFCD45}" type="presParOf" srcId="{08ABEBA7-D1D9-450D-92D0-BA1A9E483741}" destId="{49FAEB4D-7B56-4228-97E2-8060759D8F64}" srcOrd="1" destOrd="0" presId="urn:microsoft.com/office/officeart/2005/8/layout/hierarchy1"/>
    <dgm:cxn modelId="{131D7B8F-66C9-40D9-AE9D-2508B45977CC}" type="presParOf" srcId="{E7A1EC41-051B-45D4-B1A5-629C7D3F2D25}" destId="{E4C80CE9-094A-455B-B1AA-D56986143929}" srcOrd="3" destOrd="0" presId="urn:microsoft.com/office/officeart/2005/8/layout/hierarchy1"/>
    <dgm:cxn modelId="{8AB722B6-191C-433F-A0FD-1B9E5C175C44}" type="presParOf" srcId="{E4C80CE9-094A-455B-B1AA-D56986143929}" destId="{BDE87B8C-36F9-4410-8126-71866EFD60A1}" srcOrd="0" destOrd="0" presId="urn:microsoft.com/office/officeart/2005/8/layout/hierarchy1"/>
    <dgm:cxn modelId="{518ED6EA-A0E4-4760-B1D8-8FFB323811ED}" type="presParOf" srcId="{BDE87B8C-36F9-4410-8126-71866EFD60A1}" destId="{D89ADE50-4E26-4B52-97AA-7B11BFAD690F}" srcOrd="0" destOrd="0" presId="urn:microsoft.com/office/officeart/2005/8/layout/hierarchy1"/>
    <dgm:cxn modelId="{C7C07996-9754-4A0D-8B8C-DA8B4695EAC3}" type="presParOf" srcId="{BDE87B8C-36F9-4410-8126-71866EFD60A1}" destId="{8CEAA0B3-5ECA-480F-B7F2-C38851DEDD5C}" srcOrd="1" destOrd="0" presId="urn:microsoft.com/office/officeart/2005/8/layout/hierarchy1"/>
    <dgm:cxn modelId="{E77A18B9-77E1-41C1-9AF3-ED80BB3B7613}" type="presParOf" srcId="{E4C80CE9-094A-455B-B1AA-D56986143929}" destId="{1240A4C8-8E0F-480F-B318-65667FAEBB04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270252C-20C3-4758-AFB2-9FB65EC4415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lt-LT"/>
        </a:p>
      </dgm:t>
    </dgm:pt>
    <dgm:pt modelId="{E8CA2F2D-AFC9-4E3E-99DC-EE53D3756889}">
      <dgm:prSet phldrT="[Text]" custT="1"/>
      <dgm:spPr/>
      <dgm:t>
        <a:bodyPr vert="vert270"/>
        <a:lstStyle/>
        <a:p>
          <a:r>
            <a:rPr lang="en-US" sz="1800" noProof="0" dirty="0" smtClean="0"/>
            <a:t>Electricity</a:t>
          </a:r>
          <a:endParaRPr lang="en-US" sz="1800" noProof="0" dirty="0"/>
        </a:p>
      </dgm:t>
    </dgm:pt>
    <dgm:pt modelId="{8AAB5EDC-4B25-4152-8D42-40A441FD49DC}" type="parTrans" cxnId="{D5A0CE01-2350-4C6C-ABC5-DCA18B8478F2}">
      <dgm:prSet/>
      <dgm:spPr/>
      <dgm:t>
        <a:bodyPr/>
        <a:lstStyle/>
        <a:p>
          <a:endParaRPr lang="lt-LT"/>
        </a:p>
      </dgm:t>
    </dgm:pt>
    <dgm:pt modelId="{C7334E2B-B4CF-4CD7-BDC4-4080944211CD}" type="sibTrans" cxnId="{D5A0CE01-2350-4C6C-ABC5-DCA18B8478F2}">
      <dgm:prSet/>
      <dgm:spPr/>
      <dgm:t>
        <a:bodyPr/>
        <a:lstStyle/>
        <a:p>
          <a:endParaRPr lang="lt-LT"/>
        </a:p>
      </dgm:t>
    </dgm:pt>
    <dgm:pt modelId="{8C630A77-CBCA-410E-924C-35D8E53403D1}">
      <dgm:prSet custT="1"/>
      <dgm:spPr/>
      <dgm:t>
        <a:bodyPr vert="vert270"/>
        <a:lstStyle/>
        <a:p>
          <a:r>
            <a:rPr lang="lt-LT" sz="1800" dirty="0" smtClean="0"/>
            <a:t>CHS</a:t>
          </a:r>
          <a:endParaRPr lang="lt-LT" sz="1800" dirty="0"/>
        </a:p>
      </dgm:t>
    </dgm:pt>
    <dgm:pt modelId="{83ED3150-272E-494D-888E-BF04A0AB3D3D}" type="parTrans" cxnId="{4A057B8D-0181-4948-8E98-A9C08C7FE353}">
      <dgm:prSet/>
      <dgm:spPr/>
      <dgm:t>
        <a:bodyPr/>
        <a:lstStyle/>
        <a:p>
          <a:endParaRPr lang="lt-LT"/>
        </a:p>
      </dgm:t>
    </dgm:pt>
    <dgm:pt modelId="{6C1AD9C5-DFD6-4E7E-B179-E5527FA8DDFE}" type="sibTrans" cxnId="{4A057B8D-0181-4948-8E98-A9C08C7FE353}">
      <dgm:prSet/>
      <dgm:spPr/>
      <dgm:t>
        <a:bodyPr/>
        <a:lstStyle/>
        <a:p>
          <a:endParaRPr lang="lt-LT"/>
        </a:p>
      </dgm:t>
    </dgm:pt>
    <dgm:pt modelId="{059074E5-F096-4B66-A693-A689319BBAD4}">
      <dgm:prSet/>
      <dgm:spPr/>
      <dgm:t>
        <a:bodyPr/>
        <a:lstStyle/>
        <a:p>
          <a:r>
            <a:rPr lang="lt-LT" dirty="0" smtClean="0"/>
            <a:t>27,2</a:t>
          </a:r>
          <a:r>
            <a:rPr lang="en-US" dirty="0" smtClean="0"/>
            <a:t>%</a:t>
          </a:r>
          <a:r>
            <a:rPr lang="lt-LT" dirty="0" smtClean="0"/>
            <a:t> </a:t>
          </a:r>
          <a:endParaRPr lang="en-US" noProof="0" dirty="0"/>
        </a:p>
      </dgm:t>
    </dgm:pt>
    <dgm:pt modelId="{8079E83A-F781-46A3-8D00-BE42F44E950C}" type="parTrans" cxnId="{4094015D-3BD0-498A-AFE7-84FB9858D26E}">
      <dgm:prSet/>
      <dgm:spPr/>
      <dgm:t>
        <a:bodyPr/>
        <a:lstStyle/>
        <a:p>
          <a:endParaRPr lang="lt-LT"/>
        </a:p>
      </dgm:t>
    </dgm:pt>
    <dgm:pt modelId="{2F8CA0FB-1B9F-4529-B823-39E53B0C811F}" type="sibTrans" cxnId="{4094015D-3BD0-498A-AFE7-84FB9858D26E}">
      <dgm:prSet/>
      <dgm:spPr/>
      <dgm:t>
        <a:bodyPr/>
        <a:lstStyle/>
        <a:p>
          <a:endParaRPr lang="lt-LT"/>
        </a:p>
      </dgm:t>
    </dgm:pt>
    <dgm:pt modelId="{7CA64E3B-81F1-4B0B-A24E-4EF574C8CB81}">
      <dgm:prSet custT="1"/>
      <dgm:spPr/>
      <dgm:t>
        <a:bodyPr vert="vert270"/>
        <a:lstStyle/>
        <a:p>
          <a:r>
            <a:rPr lang="en-US" sz="1800" dirty="0" smtClean="0"/>
            <a:t>Transport</a:t>
          </a:r>
          <a:endParaRPr lang="lt-LT" sz="1800" dirty="0"/>
        </a:p>
      </dgm:t>
    </dgm:pt>
    <dgm:pt modelId="{7CED83CC-7556-4A6A-A0AB-8A7E5B5C7196}" type="parTrans" cxnId="{C7D96DF7-3BD7-48DC-8DAB-63DC5B8EC8F0}">
      <dgm:prSet/>
      <dgm:spPr/>
      <dgm:t>
        <a:bodyPr/>
        <a:lstStyle/>
        <a:p>
          <a:endParaRPr lang="lt-LT"/>
        </a:p>
      </dgm:t>
    </dgm:pt>
    <dgm:pt modelId="{B5200F2D-4B06-4C6E-B842-66B3955A441C}" type="sibTrans" cxnId="{C7D96DF7-3BD7-48DC-8DAB-63DC5B8EC8F0}">
      <dgm:prSet/>
      <dgm:spPr/>
      <dgm:t>
        <a:bodyPr/>
        <a:lstStyle/>
        <a:p>
          <a:endParaRPr lang="lt-LT"/>
        </a:p>
      </dgm:t>
    </dgm:pt>
    <dgm:pt modelId="{073D2EF7-04E8-42E2-8899-0174901DA084}">
      <dgm:prSet/>
      <dgm:spPr/>
      <dgm:t>
        <a:bodyPr/>
        <a:lstStyle/>
        <a:p>
          <a:r>
            <a:rPr lang="lt-LT" dirty="0" smtClean="0"/>
            <a:t>10,9</a:t>
          </a:r>
          <a:r>
            <a:rPr lang="en-US" dirty="0" smtClean="0"/>
            <a:t>%</a:t>
          </a:r>
          <a:r>
            <a:rPr lang="lt-LT" dirty="0" smtClean="0"/>
            <a:t> </a:t>
          </a:r>
          <a:endParaRPr lang="en-US" dirty="0" smtClean="0"/>
        </a:p>
      </dgm:t>
    </dgm:pt>
    <dgm:pt modelId="{24BD1E5C-857B-4B95-A42F-EB4C22DBB850}" type="sibTrans" cxnId="{10C123F2-EAC9-47DA-B99B-0055FD3F89B6}">
      <dgm:prSet/>
      <dgm:spPr/>
      <dgm:t>
        <a:bodyPr/>
        <a:lstStyle/>
        <a:p>
          <a:endParaRPr lang="lt-LT"/>
        </a:p>
      </dgm:t>
    </dgm:pt>
    <dgm:pt modelId="{EDA8412D-BE6A-43CA-9723-DC820C35E92C}" type="parTrans" cxnId="{10C123F2-EAC9-47DA-B99B-0055FD3F89B6}">
      <dgm:prSet/>
      <dgm:spPr/>
      <dgm:t>
        <a:bodyPr/>
        <a:lstStyle/>
        <a:p>
          <a:endParaRPr lang="lt-LT"/>
        </a:p>
      </dgm:t>
    </dgm:pt>
    <dgm:pt modelId="{60540117-C90D-4F4F-BCFF-10E835BDBD1D}">
      <dgm:prSet/>
      <dgm:spPr/>
      <dgm:t>
        <a:bodyPr/>
        <a:lstStyle/>
        <a:p>
          <a:r>
            <a:rPr lang="en-US" dirty="0" smtClean="0"/>
            <a:t>3,7 % </a:t>
          </a:r>
          <a:endParaRPr lang="lt-LT" dirty="0"/>
        </a:p>
      </dgm:t>
    </dgm:pt>
    <dgm:pt modelId="{8818C5E2-3930-4E10-BCE7-EBDA53C229DC}" type="parTrans" cxnId="{CDBAA2A2-C1DC-48E5-A1B0-A2546E39287A}">
      <dgm:prSet/>
      <dgm:spPr/>
      <dgm:t>
        <a:bodyPr/>
        <a:lstStyle/>
        <a:p>
          <a:endParaRPr lang="lt-LT"/>
        </a:p>
      </dgm:t>
    </dgm:pt>
    <dgm:pt modelId="{C0EC672F-D583-4FA4-888C-5528269FFADB}" type="sibTrans" cxnId="{CDBAA2A2-C1DC-48E5-A1B0-A2546E39287A}">
      <dgm:prSet/>
      <dgm:spPr/>
      <dgm:t>
        <a:bodyPr/>
        <a:lstStyle/>
        <a:p>
          <a:endParaRPr lang="lt-LT"/>
        </a:p>
      </dgm:t>
    </dgm:pt>
    <dgm:pt modelId="{D918FE3C-66A8-476D-9B78-C6846D4366E3}" type="pres">
      <dgm:prSet presAssocID="{B270252C-20C3-4758-AFB2-9FB65EC4415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lt-LT"/>
        </a:p>
      </dgm:t>
    </dgm:pt>
    <dgm:pt modelId="{2FF72B81-3FCF-4D2D-B9A3-1A63171B7DF2}" type="pres">
      <dgm:prSet presAssocID="{E8CA2F2D-AFC9-4E3E-99DC-EE53D3756889}" presName="linNode" presStyleCnt="0"/>
      <dgm:spPr/>
    </dgm:pt>
    <dgm:pt modelId="{E8DC154B-1D8E-4228-BA42-4F2C35C5FB9B}" type="pres">
      <dgm:prSet presAssocID="{E8CA2F2D-AFC9-4E3E-99DC-EE53D3756889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lt-LT"/>
        </a:p>
      </dgm:t>
    </dgm:pt>
    <dgm:pt modelId="{37DE3DFB-69DB-4A51-815E-46CBCBFE17E9}" type="pres">
      <dgm:prSet presAssocID="{E8CA2F2D-AFC9-4E3E-99DC-EE53D3756889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lt-LT"/>
        </a:p>
      </dgm:t>
    </dgm:pt>
    <dgm:pt modelId="{B4A9F168-B62A-4FA4-9488-0C873CB0CB22}" type="pres">
      <dgm:prSet presAssocID="{C7334E2B-B4CF-4CD7-BDC4-4080944211CD}" presName="sp" presStyleCnt="0"/>
      <dgm:spPr/>
    </dgm:pt>
    <dgm:pt modelId="{A5742051-80F4-4A4E-84DA-208748A7E305}" type="pres">
      <dgm:prSet presAssocID="{8C630A77-CBCA-410E-924C-35D8E53403D1}" presName="linNode" presStyleCnt="0"/>
      <dgm:spPr/>
    </dgm:pt>
    <dgm:pt modelId="{C3C8343C-3B16-4438-B5F8-56FED468655E}" type="pres">
      <dgm:prSet presAssocID="{8C630A77-CBCA-410E-924C-35D8E53403D1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lt-LT"/>
        </a:p>
      </dgm:t>
    </dgm:pt>
    <dgm:pt modelId="{080E0A3B-F10A-4E6C-91CA-A1789138E1EC}" type="pres">
      <dgm:prSet presAssocID="{8C630A77-CBCA-410E-924C-35D8E53403D1}" presName="descendantText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lt-LT"/>
        </a:p>
      </dgm:t>
    </dgm:pt>
    <dgm:pt modelId="{C4D937C0-7E8A-4A67-ADE1-1511413A85C4}" type="pres">
      <dgm:prSet presAssocID="{6C1AD9C5-DFD6-4E7E-B179-E5527FA8DDFE}" presName="sp" presStyleCnt="0"/>
      <dgm:spPr/>
    </dgm:pt>
    <dgm:pt modelId="{2B38D939-4BF8-4139-8774-52119E5CD2B1}" type="pres">
      <dgm:prSet presAssocID="{7CA64E3B-81F1-4B0B-A24E-4EF574C8CB81}" presName="linNode" presStyleCnt="0"/>
      <dgm:spPr/>
    </dgm:pt>
    <dgm:pt modelId="{B87F83C2-B292-476B-938E-59363D1B57CE}" type="pres">
      <dgm:prSet presAssocID="{7CA64E3B-81F1-4B0B-A24E-4EF574C8CB81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lt-LT"/>
        </a:p>
      </dgm:t>
    </dgm:pt>
    <dgm:pt modelId="{5BDCADB2-9FA7-4C64-BCC0-FC3136E637E9}" type="pres">
      <dgm:prSet presAssocID="{7CA64E3B-81F1-4B0B-A24E-4EF574C8CB81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lt-LT"/>
        </a:p>
      </dgm:t>
    </dgm:pt>
  </dgm:ptLst>
  <dgm:cxnLst>
    <dgm:cxn modelId="{4A057B8D-0181-4948-8E98-A9C08C7FE353}" srcId="{B270252C-20C3-4758-AFB2-9FB65EC44157}" destId="{8C630A77-CBCA-410E-924C-35D8E53403D1}" srcOrd="1" destOrd="0" parTransId="{83ED3150-272E-494D-888E-BF04A0AB3D3D}" sibTransId="{6C1AD9C5-DFD6-4E7E-B179-E5527FA8DDFE}"/>
    <dgm:cxn modelId="{4094015D-3BD0-498A-AFE7-84FB9858D26E}" srcId="{8C630A77-CBCA-410E-924C-35D8E53403D1}" destId="{059074E5-F096-4B66-A693-A689319BBAD4}" srcOrd="0" destOrd="0" parTransId="{8079E83A-F781-46A3-8D00-BE42F44E950C}" sibTransId="{2F8CA0FB-1B9F-4529-B823-39E53B0C811F}"/>
    <dgm:cxn modelId="{83C5E60B-89A6-4CC2-A7FA-0DF22408812C}" type="presOf" srcId="{E8CA2F2D-AFC9-4E3E-99DC-EE53D3756889}" destId="{E8DC154B-1D8E-4228-BA42-4F2C35C5FB9B}" srcOrd="0" destOrd="0" presId="urn:microsoft.com/office/officeart/2005/8/layout/vList5"/>
    <dgm:cxn modelId="{286C147F-F5D5-48BE-B3DD-B048EEEA6260}" type="presOf" srcId="{059074E5-F096-4B66-A693-A689319BBAD4}" destId="{080E0A3B-F10A-4E6C-91CA-A1789138E1EC}" srcOrd="0" destOrd="0" presId="urn:microsoft.com/office/officeart/2005/8/layout/vList5"/>
    <dgm:cxn modelId="{10C123F2-EAC9-47DA-B99B-0055FD3F89B6}" srcId="{E8CA2F2D-AFC9-4E3E-99DC-EE53D3756889}" destId="{073D2EF7-04E8-42E2-8899-0174901DA084}" srcOrd="0" destOrd="0" parTransId="{EDA8412D-BE6A-43CA-9723-DC820C35E92C}" sibTransId="{24BD1E5C-857B-4B95-A42F-EB4C22DBB850}"/>
    <dgm:cxn modelId="{2E29308E-2619-4296-9A49-76A981652396}" type="presOf" srcId="{60540117-C90D-4F4F-BCFF-10E835BDBD1D}" destId="{5BDCADB2-9FA7-4C64-BCC0-FC3136E637E9}" srcOrd="0" destOrd="0" presId="urn:microsoft.com/office/officeart/2005/8/layout/vList5"/>
    <dgm:cxn modelId="{C7D96DF7-3BD7-48DC-8DAB-63DC5B8EC8F0}" srcId="{B270252C-20C3-4758-AFB2-9FB65EC44157}" destId="{7CA64E3B-81F1-4B0B-A24E-4EF574C8CB81}" srcOrd="2" destOrd="0" parTransId="{7CED83CC-7556-4A6A-A0AB-8A7E5B5C7196}" sibTransId="{B5200F2D-4B06-4C6E-B842-66B3955A441C}"/>
    <dgm:cxn modelId="{3FBE7151-B5E0-4D5D-8749-842AF1C58898}" type="presOf" srcId="{7CA64E3B-81F1-4B0B-A24E-4EF574C8CB81}" destId="{B87F83C2-B292-476B-938E-59363D1B57CE}" srcOrd="0" destOrd="0" presId="urn:microsoft.com/office/officeart/2005/8/layout/vList5"/>
    <dgm:cxn modelId="{D5A0CE01-2350-4C6C-ABC5-DCA18B8478F2}" srcId="{B270252C-20C3-4758-AFB2-9FB65EC44157}" destId="{E8CA2F2D-AFC9-4E3E-99DC-EE53D3756889}" srcOrd="0" destOrd="0" parTransId="{8AAB5EDC-4B25-4152-8D42-40A441FD49DC}" sibTransId="{C7334E2B-B4CF-4CD7-BDC4-4080944211CD}"/>
    <dgm:cxn modelId="{CDBAA2A2-C1DC-48E5-A1B0-A2546E39287A}" srcId="{7CA64E3B-81F1-4B0B-A24E-4EF574C8CB81}" destId="{60540117-C90D-4F4F-BCFF-10E835BDBD1D}" srcOrd="0" destOrd="0" parTransId="{8818C5E2-3930-4E10-BCE7-EBDA53C229DC}" sibTransId="{C0EC672F-D583-4FA4-888C-5528269FFADB}"/>
    <dgm:cxn modelId="{1A077BC3-5421-42C7-BBA4-C1DC1A124A9A}" type="presOf" srcId="{073D2EF7-04E8-42E2-8899-0174901DA084}" destId="{37DE3DFB-69DB-4A51-815E-46CBCBFE17E9}" srcOrd="0" destOrd="0" presId="urn:microsoft.com/office/officeart/2005/8/layout/vList5"/>
    <dgm:cxn modelId="{56842B98-3426-41A2-AA71-26D05B769FB2}" type="presOf" srcId="{8C630A77-CBCA-410E-924C-35D8E53403D1}" destId="{C3C8343C-3B16-4438-B5F8-56FED468655E}" srcOrd="0" destOrd="0" presId="urn:microsoft.com/office/officeart/2005/8/layout/vList5"/>
    <dgm:cxn modelId="{8E77F9D4-2C7D-4FCE-B477-7D5BA87EB3D1}" type="presOf" srcId="{B270252C-20C3-4758-AFB2-9FB65EC44157}" destId="{D918FE3C-66A8-476D-9B78-C6846D4366E3}" srcOrd="0" destOrd="0" presId="urn:microsoft.com/office/officeart/2005/8/layout/vList5"/>
    <dgm:cxn modelId="{D781F746-DC07-41E1-B36F-D103A63F10E6}" type="presParOf" srcId="{D918FE3C-66A8-476D-9B78-C6846D4366E3}" destId="{2FF72B81-3FCF-4D2D-B9A3-1A63171B7DF2}" srcOrd="0" destOrd="0" presId="urn:microsoft.com/office/officeart/2005/8/layout/vList5"/>
    <dgm:cxn modelId="{0EE2D881-C859-448E-A62F-3D3DE7E9F652}" type="presParOf" srcId="{2FF72B81-3FCF-4D2D-B9A3-1A63171B7DF2}" destId="{E8DC154B-1D8E-4228-BA42-4F2C35C5FB9B}" srcOrd="0" destOrd="0" presId="urn:microsoft.com/office/officeart/2005/8/layout/vList5"/>
    <dgm:cxn modelId="{3740C3BD-B1A5-4556-ABFB-16ECA9C5832D}" type="presParOf" srcId="{2FF72B81-3FCF-4D2D-B9A3-1A63171B7DF2}" destId="{37DE3DFB-69DB-4A51-815E-46CBCBFE17E9}" srcOrd="1" destOrd="0" presId="urn:microsoft.com/office/officeart/2005/8/layout/vList5"/>
    <dgm:cxn modelId="{170F40AC-C2E7-4133-A4ED-91C37E9857A7}" type="presParOf" srcId="{D918FE3C-66A8-476D-9B78-C6846D4366E3}" destId="{B4A9F168-B62A-4FA4-9488-0C873CB0CB22}" srcOrd="1" destOrd="0" presId="urn:microsoft.com/office/officeart/2005/8/layout/vList5"/>
    <dgm:cxn modelId="{6380929B-DDDB-43C7-9768-2FFB7750E1ED}" type="presParOf" srcId="{D918FE3C-66A8-476D-9B78-C6846D4366E3}" destId="{A5742051-80F4-4A4E-84DA-208748A7E305}" srcOrd="2" destOrd="0" presId="urn:microsoft.com/office/officeart/2005/8/layout/vList5"/>
    <dgm:cxn modelId="{83FE5DB7-146A-40E8-BBA2-5D6C8A288F1C}" type="presParOf" srcId="{A5742051-80F4-4A4E-84DA-208748A7E305}" destId="{C3C8343C-3B16-4438-B5F8-56FED468655E}" srcOrd="0" destOrd="0" presId="urn:microsoft.com/office/officeart/2005/8/layout/vList5"/>
    <dgm:cxn modelId="{0F86A55E-1058-497B-A321-43DE1E32DDCC}" type="presParOf" srcId="{A5742051-80F4-4A4E-84DA-208748A7E305}" destId="{080E0A3B-F10A-4E6C-91CA-A1789138E1EC}" srcOrd="1" destOrd="0" presId="urn:microsoft.com/office/officeart/2005/8/layout/vList5"/>
    <dgm:cxn modelId="{9C555946-A853-44D0-BA44-5C7F2B27BCAA}" type="presParOf" srcId="{D918FE3C-66A8-476D-9B78-C6846D4366E3}" destId="{C4D937C0-7E8A-4A67-ADE1-1511413A85C4}" srcOrd="3" destOrd="0" presId="urn:microsoft.com/office/officeart/2005/8/layout/vList5"/>
    <dgm:cxn modelId="{BB090B3A-151D-4C85-9AED-3E29A49BF6EE}" type="presParOf" srcId="{D918FE3C-66A8-476D-9B78-C6846D4366E3}" destId="{2B38D939-4BF8-4139-8774-52119E5CD2B1}" srcOrd="4" destOrd="0" presId="urn:microsoft.com/office/officeart/2005/8/layout/vList5"/>
    <dgm:cxn modelId="{905B392F-3940-4239-B53F-D3F33DB7C43A}" type="presParOf" srcId="{2B38D939-4BF8-4139-8774-52119E5CD2B1}" destId="{B87F83C2-B292-476B-938E-59363D1B57CE}" srcOrd="0" destOrd="0" presId="urn:microsoft.com/office/officeart/2005/8/layout/vList5"/>
    <dgm:cxn modelId="{D8D6691B-EDA0-4DA0-8312-1DD393E3EAB0}" type="presParOf" srcId="{2B38D939-4BF8-4139-8774-52119E5CD2B1}" destId="{5BDCADB2-9FA7-4C64-BCC0-FC3136E637E9}" srcOrd="1" destOrd="0" presId="urn:microsoft.com/office/officeart/2005/8/layout/vList5"/>
  </dgm:cxnLst>
  <dgm:bg/>
  <dgm:whole/>
  <dgm:extLst>
    <a:ext uri="{C62137D5-CB1D-491B-B009-E17868A290BF}">
      <dgm14:recolorImg xmlns:dgm14="http://schemas.microsoft.com/office/drawing/2010/diagram" xmlns="" val="1"/>
    </a:ex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0D8B39C-2FD4-4DEA-A391-BF822C679134}" type="doc">
      <dgm:prSet loTypeId="urn:microsoft.com/office/officeart/2009/3/layout/Descending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lt-LT"/>
        </a:p>
      </dgm:t>
    </dgm:pt>
    <dgm:pt modelId="{15F7C54C-FB5C-45CB-82BC-E6EC28BD74B1}">
      <dgm:prSet phldrT="[Text]"/>
      <dgm:spPr/>
      <dgm:t>
        <a:bodyPr/>
        <a:lstStyle/>
        <a:p>
          <a:r>
            <a:rPr lang="en-US" noProof="0" dirty="0" smtClean="0"/>
            <a:t>Inexperience</a:t>
          </a:r>
        </a:p>
      </dgm:t>
    </dgm:pt>
    <dgm:pt modelId="{3163D12C-95FB-4FB7-9EAE-41C4E6757846}" type="parTrans" cxnId="{5501A94B-4FE2-4D76-96C5-546222A8F5F0}">
      <dgm:prSet/>
      <dgm:spPr/>
      <dgm:t>
        <a:bodyPr/>
        <a:lstStyle/>
        <a:p>
          <a:endParaRPr lang="lt-LT"/>
        </a:p>
      </dgm:t>
    </dgm:pt>
    <dgm:pt modelId="{70F072E2-4E6B-4255-A74B-D6BD9EF91854}" type="sibTrans" cxnId="{5501A94B-4FE2-4D76-96C5-546222A8F5F0}">
      <dgm:prSet/>
      <dgm:spPr/>
      <dgm:t>
        <a:bodyPr/>
        <a:lstStyle/>
        <a:p>
          <a:endParaRPr lang="lt-LT"/>
        </a:p>
      </dgm:t>
    </dgm:pt>
    <dgm:pt modelId="{F1DD2E58-AA61-4CAC-82E1-7CCE39115150}">
      <dgm:prSet phldrT="[Text]"/>
      <dgm:spPr/>
      <dgm:t>
        <a:bodyPr/>
        <a:lstStyle/>
        <a:p>
          <a:r>
            <a:rPr lang="en-US" noProof="0" dirty="0" smtClean="0"/>
            <a:t>Grid misbalance</a:t>
          </a:r>
        </a:p>
      </dgm:t>
    </dgm:pt>
    <dgm:pt modelId="{F3DD9731-5E16-41CC-A035-22DAD352A6D4}" type="parTrans" cxnId="{6DF0D3D3-766B-4873-9723-9CA2C1B47340}">
      <dgm:prSet/>
      <dgm:spPr/>
      <dgm:t>
        <a:bodyPr/>
        <a:lstStyle/>
        <a:p>
          <a:endParaRPr lang="lt-LT"/>
        </a:p>
      </dgm:t>
    </dgm:pt>
    <dgm:pt modelId="{D933AFEC-36A2-4A09-A663-14ED85699F6E}" type="sibTrans" cxnId="{6DF0D3D3-766B-4873-9723-9CA2C1B47340}">
      <dgm:prSet/>
      <dgm:spPr/>
      <dgm:t>
        <a:bodyPr/>
        <a:lstStyle/>
        <a:p>
          <a:endParaRPr lang="lt-LT"/>
        </a:p>
      </dgm:t>
    </dgm:pt>
    <dgm:pt modelId="{96F311DB-BD41-4F97-91F4-500F12BCB56D}">
      <dgm:prSet phldrT="[Text]"/>
      <dgm:spPr/>
      <dgm:t>
        <a:bodyPr/>
        <a:lstStyle/>
        <a:p>
          <a:r>
            <a:rPr lang="en-US" noProof="0" dirty="0" smtClean="0"/>
            <a:t>Price</a:t>
          </a:r>
          <a:endParaRPr lang="en-US" noProof="0" dirty="0"/>
        </a:p>
      </dgm:t>
    </dgm:pt>
    <dgm:pt modelId="{760D54D7-9481-4CD0-BC86-2A5C5E64E765}" type="parTrans" cxnId="{BD62AE36-E4B2-400A-ACEF-721E3C5DC644}">
      <dgm:prSet/>
      <dgm:spPr/>
      <dgm:t>
        <a:bodyPr/>
        <a:lstStyle/>
        <a:p>
          <a:endParaRPr lang="lt-LT"/>
        </a:p>
      </dgm:t>
    </dgm:pt>
    <dgm:pt modelId="{6DFFAE87-89D5-477D-B705-3F8081FF54B4}" type="sibTrans" cxnId="{BD62AE36-E4B2-400A-ACEF-721E3C5DC644}">
      <dgm:prSet/>
      <dgm:spPr/>
      <dgm:t>
        <a:bodyPr/>
        <a:lstStyle/>
        <a:p>
          <a:endParaRPr lang="lt-LT"/>
        </a:p>
      </dgm:t>
    </dgm:pt>
    <dgm:pt modelId="{09CBD5D1-2485-454F-8627-511028BDE3D5}">
      <dgm:prSet phldrT="[Text]"/>
      <dgm:spPr/>
      <dgm:t>
        <a:bodyPr/>
        <a:lstStyle/>
        <a:p>
          <a:r>
            <a:rPr lang="en-US" noProof="0" dirty="0" smtClean="0">
              <a:solidFill>
                <a:srgbClr val="FF0000"/>
              </a:solidFill>
            </a:rPr>
            <a:t>RES ATTRACTIVITY</a:t>
          </a:r>
          <a:endParaRPr lang="en-US" noProof="0" dirty="0">
            <a:solidFill>
              <a:srgbClr val="FF0000"/>
            </a:solidFill>
          </a:endParaRPr>
        </a:p>
      </dgm:t>
    </dgm:pt>
    <dgm:pt modelId="{F6F86F03-9FB3-43FA-A779-7A4F987D3721}" type="parTrans" cxnId="{A643EF4D-FBB4-45B8-B38A-3AF26F1B5DF6}">
      <dgm:prSet/>
      <dgm:spPr/>
      <dgm:t>
        <a:bodyPr/>
        <a:lstStyle/>
        <a:p>
          <a:endParaRPr lang="lt-LT"/>
        </a:p>
      </dgm:t>
    </dgm:pt>
    <dgm:pt modelId="{83D3714A-2F4E-4EE4-B052-EADE2E060703}" type="sibTrans" cxnId="{A643EF4D-FBB4-45B8-B38A-3AF26F1B5DF6}">
      <dgm:prSet/>
      <dgm:spPr/>
      <dgm:t>
        <a:bodyPr/>
        <a:lstStyle/>
        <a:p>
          <a:endParaRPr lang="lt-LT"/>
        </a:p>
      </dgm:t>
    </dgm:pt>
    <dgm:pt modelId="{E19EAEBF-F603-4376-994B-254854A3B8D7}" type="pres">
      <dgm:prSet presAssocID="{20D8B39C-2FD4-4DEA-A391-BF822C679134}" presName="Name0" presStyleCnt="0">
        <dgm:presLayoutVars>
          <dgm:chMax val="7"/>
          <dgm:chPref val="5"/>
        </dgm:presLayoutVars>
      </dgm:prSet>
      <dgm:spPr/>
      <dgm:t>
        <a:bodyPr/>
        <a:lstStyle/>
        <a:p>
          <a:endParaRPr lang="lt-LT"/>
        </a:p>
      </dgm:t>
    </dgm:pt>
    <dgm:pt modelId="{18194A27-AC86-4A3C-A1B0-8F05E6A46342}" type="pres">
      <dgm:prSet presAssocID="{20D8B39C-2FD4-4DEA-A391-BF822C679134}" presName="arrowNode" presStyleLbl="node1" presStyleIdx="0" presStyleCnt="1"/>
      <dgm:spPr/>
    </dgm:pt>
    <dgm:pt modelId="{C9B300B9-4DA2-4B85-A8F6-BE13F834AF81}" type="pres">
      <dgm:prSet presAssocID="{15F7C54C-FB5C-45CB-82BC-E6EC28BD74B1}" presName="txNode1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lt-LT"/>
        </a:p>
      </dgm:t>
    </dgm:pt>
    <dgm:pt modelId="{861984DA-3428-44C5-9672-CD900574E995}" type="pres">
      <dgm:prSet presAssocID="{F1DD2E58-AA61-4CAC-82E1-7CCE39115150}" presName="txNode2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lt-LT"/>
        </a:p>
      </dgm:t>
    </dgm:pt>
    <dgm:pt modelId="{3A7E82FB-6BD3-4606-A1EE-7F5F2F580219}" type="pres">
      <dgm:prSet presAssocID="{D933AFEC-36A2-4A09-A663-14ED85699F6E}" presName="dotNode2" presStyleCnt="0"/>
      <dgm:spPr/>
    </dgm:pt>
    <dgm:pt modelId="{9832E597-42EB-4354-B0A2-DB30B4561A36}" type="pres">
      <dgm:prSet presAssocID="{D933AFEC-36A2-4A09-A663-14ED85699F6E}" presName="dotRepeatNode" presStyleLbl="fgShp" presStyleIdx="0" presStyleCnt="2"/>
      <dgm:spPr/>
      <dgm:t>
        <a:bodyPr/>
        <a:lstStyle/>
        <a:p>
          <a:endParaRPr lang="lt-LT"/>
        </a:p>
      </dgm:t>
    </dgm:pt>
    <dgm:pt modelId="{42C6D128-4D9D-40D6-BA17-C2CC33C8F9E8}" type="pres">
      <dgm:prSet presAssocID="{96F311DB-BD41-4F97-91F4-500F12BCB56D}" presName="txNode3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lt-LT"/>
        </a:p>
      </dgm:t>
    </dgm:pt>
    <dgm:pt modelId="{FACF0C29-A6EF-4C5B-92E0-B27D88EC1548}" type="pres">
      <dgm:prSet presAssocID="{6DFFAE87-89D5-477D-B705-3F8081FF54B4}" presName="dotNode3" presStyleCnt="0"/>
      <dgm:spPr/>
    </dgm:pt>
    <dgm:pt modelId="{DD6C4FE2-A1B9-4699-9D6B-5818C0158708}" type="pres">
      <dgm:prSet presAssocID="{6DFFAE87-89D5-477D-B705-3F8081FF54B4}" presName="dotRepeatNode" presStyleLbl="fgShp" presStyleIdx="1" presStyleCnt="2"/>
      <dgm:spPr/>
      <dgm:t>
        <a:bodyPr/>
        <a:lstStyle/>
        <a:p>
          <a:endParaRPr lang="lt-LT"/>
        </a:p>
      </dgm:t>
    </dgm:pt>
    <dgm:pt modelId="{D2BC0172-3C04-4333-AFD1-CBD075CC2C84}" type="pres">
      <dgm:prSet presAssocID="{09CBD5D1-2485-454F-8627-511028BDE3D5}" presName="txNode4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lt-LT"/>
        </a:p>
      </dgm:t>
    </dgm:pt>
  </dgm:ptLst>
  <dgm:cxnLst>
    <dgm:cxn modelId="{BD62AE36-E4B2-400A-ACEF-721E3C5DC644}" srcId="{20D8B39C-2FD4-4DEA-A391-BF822C679134}" destId="{96F311DB-BD41-4F97-91F4-500F12BCB56D}" srcOrd="2" destOrd="0" parTransId="{760D54D7-9481-4CD0-BC86-2A5C5E64E765}" sibTransId="{6DFFAE87-89D5-477D-B705-3F8081FF54B4}"/>
    <dgm:cxn modelId="{2A2EA915-F540-4EF7-B343-605C1E96ECC7}" type="presOf" srcId="{09CBD5D1-2485-454F-8627-511028BDE3D5}" destId="{D2BC0172-3C04-4333-AFD1-CBD075CC2C84}" srcOrd="0" destOrd="0" presId="urn:microsoft.com/office/officeart/2009/3/layout/DescendingProcess"/>
    <dgm:cxn modelId="{17D83683-6E2D-491B-B215-68DE911FC7CF}" type="presOf" srcId="{15F7C54C-FB5C-45CB-82BC-E6EC28BD74B1}" destId="{C9B300B9-4DA2-4B85-A8F6-BE13F834AF81}" srcOrd="0" destOrd="0" presId="urn:microsoft.com/office/officeart/2009/3/layout/DescendingProcess"/>
    <dgm:cxn modelId="{269B7FF5-5EBA-4C8A-859C-8E10C54422D3}" type="presOf" srcId="{96F311DB-BD41-4F97-91F4-500F12BCB56D}" destId="{42C6D128-4D9D-40D6-BA17-C2CC33C8F9E8}" srcOrd="0" destOrd="0" presId="urn:microsoft.com/office/officeart/2009/3/layout/DescendingProcess"/>
    <dgm:cxn modelId="{5501A94B-4FE2-4D76-96C5-546222A8F5F0}" srcId="{20D8B39C-2FD4-4DEA-A391-BF822C679134}" destId="{15F7C54C-FB5C-45CB-82BC-E6EC28BD74B1}" srcOrd="0" destOrd="0" parTransId="{3163D12C-95FB-4FB7-9EAE-41C4E6757846}" sibTransId="{70F072E2-4E6B-4255-A74B-D6BD9EF91854}"/>
    <dgm:cxn modelId="{6DF0D3D3-766B-4873-9723-9CA2C1B47340}" srcId="{20D8B39C-2FD4-4DEA-A391-BF822C679134}" destId="{F1DD2E58-AA61-4CAC-82E1-7CCE39115150}" srcOrd="1" destOrd="0" parTransId="{F3DD9731-5E16-41CC-A035-22DAD352A6D4}" sibTransId="{D933AFEC-36A2-4A09-A663-14ED85699F6E}"/>
    <dgm:cxn modelId="{A643EF4D-FBB4-45B8-B38A-3AF26F1B5DF6}" srcId="{20D8B39C-2FD4-4DEA-A391-BF822C679134}" destId="{09CBD5D1-2485-454F-8627-511028BDE3D5}" srcOrd="3" destOrd="0" parTransId="{F6F86F03-9FB3-43FA-A779-7A4F987D3721}" sibTransId="{83D3714A-2F4E-4EE4-B052-EADE2E060703}"/>
    <dgm:cxn modelId="{C5E401D0-AE6C-447C-BA8B-1FE6E80BBD75}" type="presOf" srcId="{20D8B39C-2FD4-4DEA-A391-BF822C679134}" destId="{E19EAEBF-F603-4376-994B-254854A3B8D7}" srcOrd="0" destOrd="0" presId="urn:microsoft.com/office/officeart/2009/3/layout/DescendingProcess"/>
    <dgm:cxn modelId="{1C88BE57-053F-473B-8187-786297554835}" type="presOf" srcId="{F1DD2E58-AA61-4CAC-82E1-7CCE39115150}" destId="{861984DA-3428-44C5-9672-CD900574E995}" srcOrd="0" destOrd="0" presId="urn:microsoft.com/office/officeart/2009/3/layout/DescendingProcess"/>
    <dgm:cxn modelId="{B7F83475-E3DA-4DFC-97A6-EA28FA78E465}" type="presOf" srcId="{6DFFAE87-89D5-477D-B705-3F8081FF54B4}" destId="{DD6C4FE2-A1B9-4699-9D6B-5818C0158708}" srcOrd="0" destOrd="0" presId="urn:microsoft.com/office/officeart/2009/3/layout/DescendingProcess"/>
    <dgm:cxn modelId="{BEFABE47-1C15-45E0-A67A-81306B54C8C6}" type="presOf" srcId="{D933AFEC-36A2-4A09-A663-14ED85699F6E}" destId="{9832E597-42EB-4354-B0A2-DB30B4561A36}" srcOrd="0" destOrd="0" presId="urn:microsoft.com/office/officeart/2009/3/layout/DescendingProcess"/>
    <dgm:cxn modelId="{2828B1C4-7B51-435E-BB49-F1FB8BF802AA}" type="presParOf" srcId="{E19EAEBF-F603-4376-994B-254854A3B8D7}" destId="{18194A27-AC86-4A3C-A1B0-8F05E6A46342}" srcOrd="0" destOrd="0" presId="urn:microsoft.com/office/officeart/2009/3/layout/DescendingProcess"/>
    <dgm:cxn modelId="{37F1E870-9710-4FBB-925F-7E370FCDF270}" type="presParOf" srcId="{E19EAEBF-F603-4376-994B-254854A3B8D7}" destId="{C9B300B9-4DA2-4B85-A8F6-BE13F834AF81}" srcOrd="1" destOrd="0" presId="urn:microsoft.com/office/officeart/2009/3/layout/DescendingProcess"/>
    <dgm:cxn modelId="{454DD2E1-3F8F-4B20-81AD-71ED3B1DECBF}" type="presParOf" srcId="{E19EAEBF-F603-4376-994B-254854A3B8D7}" destId="{861984DA-3428-44C5-9672-CD900574E995}" srcOrd="2" destOrd="0" presId="urn:microsoft.com/office/officeart/2009/3/layout/DescendingProcess"/>
    <dgm:cxn modelId="{A4254923-C747-4BF4-B7C0-EA7A1F816316}" type="presParOf" srcId="{E19EAEBF-F603-4376-994B-254854A3B8D7}" destId="{3A7E82FB-6BD3-4606-A1EE-7F5F2F580219}" srcOrd="3" destOrd="0" presId="urn:microsoft.com/office/officeart/2009/3/layout/DescendingProcess"/>
    <dgm:cxn modelId="{DE319AA3-77BA-45C5-8309-76CFBE29F7AC}" type="presParOf" srcId="{3A7E82FB-6BD3-4606-A1EE-7F5F2F580219}" destId="{9832E597-42EB-4354-B0A2-DB30B4561A36}" srcOrd="0" destOrd="0" presId="urn:microsoft.com/office/officeart/2009/3/layout/DescendingProcess"/>
    <dgm:cxn modelId="{7747DC49-DDC5-4427-8A4E-8B4A4BB456BE}" type="presParOf" srcId="{E19EAEBF-F603-4376-994B-254854A3B8D7}" destId="{42C6D128-4D9D-40D6-BA17-C2CC33C8F9E8}" srcOrd="4" destOrd="0" presId="urn:microsoft.com/office/officeart/2009/3/layout/DescendingProcess"/>
    <dgm:cxn modelId="{8C930754-6DBF-4614-A0B2-657933C58F6E}" type="presParOf" srcId="{E19EAEBF-F603-4376-994B-254854A3B8D7}" destId="{FACF0C29-A6EF-4C5B-92E0-B27D88EC1548}" srcOrd="5" destOrd="0" presId="urn:microsoft.com/office/officeart/2009/3/layout/DescendingProcess"/>
    <dgm:cxn modelId="{8B7FAECC-1AFC-4CCB-A6D9-D9B6B62448D8}" type="presParOf" srcId="{FACF0C29-A6EF-4C5B-92E0-B27D88EC1548}" destId="{DD6C4FE2-A1B9-4699-9D6B-5818C0158708}" srcOrd="0" destOrd="0" presId="urn:microsoft.com/office/officeart/2009/3/layout/DescendingProcess"/>
    <dgm:cxn modelId="{1DA3F77B-2151-483E-94E0-4D3AC060E055}" type="presParOf" srcId="{E19EAEBF-F603-4376-994B-254854A3B8D7}" destId="{D2BC0172-3C04-4333-AFD1-CBD075CC2C84}" srcOrd="6" destOrd="0" presId="urn:microsoft.com/office/officeart/2009/3/layout/DescendingProcess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88D353C-1B91-487B-B77C-6DCACF5C088A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lt-LT"/>
        </a:p>
      </dgm:t>
    </dgm:pt>
    <dgm:pt modelId="{5687058F-3486-4B4E-A46A-E4FBC3446021}">
      <dgm:prSet phldrT="[Text]" custT="1"/>
      <dgm:spPr/>
      <dgm:t>
        <a:bodyPr/>
        <a:lstStyle/>
        <a:p>
          <a:r>
            <a:rPr lang="en-US" sz="1400" dirty="0" smtClean="0"/>
            <a:t>Technological improvements</a:t>
          </a:r>
          <a:endParaRPr lang="lt-LT" sz="1400" dirty="0"/>
        </a:p>
      </dgm:t>
    </dgm:pt>
    <dgm:pt modelId="{29D32D32-CE25-4542-8779-D5A804996973}" type="parTrans" cxnId="{88A1C0DC-64A7-4CAA-9092-9E9016BEC6C1}">
      <dgm:prSet/>
      <dgm:spPr/>
      <dgm:t>
        <a:bodyPr/>
        <a:lstStyle/>
        <a:p>
          <a:endParaRPr lang="lt-LT"/>
        </a:p>
      </dgm:t>
    </dgm:pt>
    <dgm:pt modelId="{4E9F09C7-C65B-4486-BDB9-452370037736}" type="sibTrans" cxnId="{88A1C0DC-64A7-4CAA-9092-9E9016BEC6C1}">
      <dgm:prSet/>
      <dgm:spPr/>
      <dgm:t>
        <a:bodyPr/>
        <a:lstStyle/>
        <a:p>
          <a:endParaRPr lang="lt-LT"/>
        </a:p>
      </dgm:t>
    </dgm:pt>
    <dgm:pt modelId="{88A4DBEA-D30F-4D3A-9F86-2CBD67D54C26}">
      <dgm:prSet phldrT="[Text]" custT="1"/>
      <dgm:spPr/>
      <dgm:t>
        <a:bodyPr/>
        <a:lstStyle/>
        <a:p>
          <a:r>
            <a:rPr lang="en-US" sz="1400" dirty="0" smtClean="0"/>
            <a:t>Creating additional value</a:t>
          </a:r>
          <a:endParaRPr lang="lt-LT" sz="1400" dirty="0"/>
        </a:p>
      </dgm:t>
    </dgm:pt>
    <dgm:pt modelId="{89774D99-6527-48D3-92CC-E23893A29CE3}" type="parTrans" cxnId="{1357B56B-7419-4E76-82A2-57344999C76E}">
      <dgm:prSet/>
      <dgm:spPr/>
      <dgm:t>
        <a:bodyPr/>
        <a:lstStyle/>
        <a:p>
          <a:endParaRPr lang="lt-LT"/>
        </a:p>
      </dgm:t>
    </dgm:pt>
    <dgm:pt modelId="{57940D1E-6F9E-4BA6-BD4D-FA73B73A8883}" type="sibTrans" cxnId="{1357B56B-7419-4E76-82A2-57344999C76E}">
      <dgm:prSet/>
      <dgm:spPr/>
      <dgm:t>
        <a:bodyPr/>
        <a:lstStyle/>
        <a:p>
          <a:endParaRPr lang="lt-LT"/>
        </a:p>
      </dgm:t>
    </dgm:pt>
    <dgm:pt modelId="{E4562F2F-0CD6-4F55-9540-C0B00F15AF6A}">
      <dgm:prSet custT="1"/>
      <dgm:spPr/>
      <dgm:t>
        <a:bodyPr/>
        <a:lstStyle/>
        <a:p>
          <a:r>
            <a:rPr lang="en-US" sz="1400" dirty="0" smtClean="0"/>
            <a:t>New possibilities for RES usage</a:t>
          </a:r>
          <a:endParaRPr lang="lt-LT" sz="1400" dirty="0"/>
        </a:p>
      </dgm:t>
    </dgm:pt>
    <dgm:pt modelId="{48FCA46E-79B1-4E41-B5AB-23777BAFF3BF}" type="parTrans" cxnId="{E3BAFAD7-4C85-4F8B-BF01-DBD94603C1E4}">
      <dgm:prSet/>
      <dgm:spPr/>
      <dgm:t>
        <a:bodyPr/>
        <a:lstStyle/>
        <a:p>
          <a:endParaRPr lang="lt-LT"/>
        </a:p>
      </dgm:t>
    </dgm:pt>
    <dgm:pt modelId="{97A011D1-27DC-428F-AB4E-C040B31E3AC7}" type="sibTrans" cxnId="{E3BAFAD7-4C85-4F8B-BF01-DBD94603C1E4}">
      <dgm:prSet/>
      <dgm:spPr/>
      <dgm:t>
        <a:bodyPr/>
        <a:lstStyle/>
        <a:p>
          <a:endParaRPr lang="lt-LT"/>
        </a:p>
      </dgm:t>
    </dgm:pt>
    <dgm:pt modelId="{9B0CE75E-6E53-45D6-86A9-3A0FD63F8DB1}">
      <dgm:prSet custT="1"/>
      <dgm:spPr/>
      <dgm:t>
        <a:bodyPr/>
        <a:lstStyle/>
        <a:p>
          <a:r>
            <a:rPr lang="en-US" sz="1400" dirty="0" smtClean="0"/>
            <a:t>Planning</a:t>
          </a:r>
          <a:endParaRPr lang="lt-LT" sz="1400" dirty="0"/>
        </a:p>
      </dgm:t>
    </dgm:pt>
    <dgm:pt modelId="{A1EF5BC0-72C5-4D0E-A967-6B7BD35571E0}" type="parTrans" cxnId="{77B5D85D-AF5F-4C32-BCFF-8B04FED701EB}">
      <dgm:prSet/>
      <dgm:spPr/>
      <dgm:t>
        <a:bodyPr/>
        <a:lstStyle/>
        <a:p>
          <a:endParaRPr lang="lt-LT"/>
        </a:p>
      </dgm:t>
    </dgm:pt>
    <dgm:pt modelId="{8A0F5EC6-031F-4CF3-B06A-7BB365EC2BAB}" type="sibTrans" cxnId="{77B5D85D-AF5F-4C32-BCFF-8B04FED701EB}">
      <dgm:prSet/>
      <dgm:spPr/>
      <dgm:t>
        <a:bodyPr/>
        <a:lstStyle/>
        <a:p>
          <a:endParaRPr lang="lt-LT"/>
        </a:p>
      </dgm:t>
    </dgm:pt>
    <dgm:pt modelId="{B1EF22E3-9C05-4615-8D9D-4F76C6AF3DD6}" type="pres">
      <dgm:prSet presAssocID="{788D353C-1B91-487B-B77C-6DCACF5C088A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lt-LT"/>
        </a:p>
      </dgm:t>
    </dgm:pt>
    <dgm:pt modelId="{3F634E8B-B2B5-4BA8-959E-7A98DD4066DA}" type="pres">
      <dgm:prSet presAssocID="{788D353C-1B91-487B-B77C-6DCACF5C088A}" presName="arrow" presStyleLbl="bgShp" presStyleIdx="0" presStyleCnt="1" custLinFactNeighborX="3029" custLinFactNeighborY="-3333"/>
      <dgm:spPr/>
    </dgm:pt>
    <dgm:pt modelId="{8D1AC9EC-4CE9-4DD4-986E-3933450B57E2}" type="pres">
      <dgm:prSet presAssocID="{788D353C-1B91-487B-B77C-6DCACF5C088A}" presName="arrowDiagram4" presStyleCnt="0"/>
      <dgm:spPr/>
    </dgm:pt>
    <dgm:pt modelId="{DEFD10CD-FBA6-4DEA-B388-0DB6314F64A6}" type="pres">
      <dgm:prSet presAssocID="{5687058F-3486-4B4E-A46A-E4FBC3446021}" presName="bullet4a" presStyleLbl="node1" presStyleIdx="0" presStyleCnt="4"/>
      <dgm:spPr/>
    </dgm:pt>
    <dgm:pt modelId="{B3067B31-2690-4E5D-8870-B7632BB2B69E}" type="pres">
      <dgm:prSet presAssocID="{5687058F-3486-4B4E-A46A-E4FBC3446021}" presName="textBox4a" presStyleLbl="revTx" presStyleIdx="0" presStyleCnt="4" custScaleX="140651" custScaleY="96872" custLinFactNeighborX="22377">
        <dgm:presLayoutVars>
          <dgm:bulletEnabled val="1"/>
        </dgm:presLayoutVars>
      </dgm:prSet>
      <dgm:spPr/>
      <dgm:t>
        <a:bodyPr/>
        <a:lstStyle/>
        <a:p>
          <a:endParaRPr lang="lt-LT"/>
        </a:p>
      </dgm:t>
    </dgm:pt>
    <dgm:pt modelId="{A1104275-1407-482F-81F4-97BA75F54055}" type="pres">
      <dgm:prSet presAssocID="{9B0CE75E-6E53-45D6-86A9-3A0FD63F8DB1}" presName="bullet4b" presStyleLbl="node1" presStyleIdx="1" presStyleCnt="4"/>
      <dgm:spPr/>
    </dgm:pt>
    <dgm:pt modelId="{98232FA1-4721-4C71-BEE8-D8EB2AE0CFAB}" type="pres">
      <dgm:prSet presAssocID="{9B0CE75E-6E53-45D6-86A9-3A0FD63F8DB1}" presName="textBox4b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lt-LT"/>
        </a:p>
      </dgm:t>
    </dgm:pt>
    <dgm:pt modelId="{90FD018F-D2E6-43A0-9924-49646D7C5C28}" type="pres">
      <dgm:prSet presAssocID="{88A4DBEA-D30F-4D3A-9F86-2CBD67D54C26}" presName="bullet4c" presStyleLbl="node1" presStyleIdx="2" presStyleCnt="4"/>
      <dgm:spPr/>
    </dgm:pt>
    <dgm:pt modelId="{487C3149-E5B4-4C9A-84F0-ED4CD851283D}" type="pres">
      <dgm:prSet presAssocID="{88A4DBEA-D30F-4D3A-9F86-2CBD67D54C26}" presName="textBox4c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lt-LT"/>
        </a:p>
      </dgm:t>
    </dgm:pt>
    <dgm:pt modelId="{E951EFA2-24D0-4164-983E-3810D9167BBB}" type="pres">
      <dgm:prSet presAssocID="{E4562F2F-0CD6-4F55-9540-C0B00F15AF6A}" presName="bullet4d" presStyleLbl="node1" presStyleIdx="3" presStyleCnt="4"/>
      <dgm:spPr/>
    </dgm:pt>
    <dgm:pt modelId="{61C9B823-58ED-4D80-A575-E143CD3ACAF3}" type="pres">
      <dgm:prSet presAssocID="{E4562F2F-0CD6-4F55-9540-C0B00F15AF6A}" presName="textBox4d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lt-LT"/>
        </a:p>
      </dgm:t>
    </dgm:pt>
  </dgm:ptLst>
  <dgm:cxnLst>
    <dgm:cxn modelId="{75738A55-B7CB-413C-8A2A-C739526A8DDC}" type="presOf" srcId="{E4562F2F-0CD6-4F55-9540-C0B00F15AF6A}" destId="{61C9B823-58ED-4D80-A575-E143CD3ACAF3}" srcOrd="0" destOrd="0" presId="urn:microsoft.com/office/officeart/2005/8/layout/arrow2"/>
    <dgm:cxn modelId="{E3BAFAD7-4C85-4F8B-BF01-DBD94603C1E4}" srcId="{788D353C-1B91-487B-B77C-6DCACF5C088A}" destId="{E4562F2F-0CD6-4F55-9540-C0B00F15AF6A}" srcOrd="3" destOrd="0" parTransId="{48FCA46E-79B1-4E41-B5AB-23777BAFF3BF}" sibTransId="{97A011D1-27DC-428F-AB4E-C040B31E3AC7}"/>
    <dgm:cxn modelId="{88A1C0DC-64A7-4CAA-9092-9E9016BEC6C1}" srcId="{788D353C-1B91-487B-B77C-6DCACF5C088A}" destId="{5687058F-3486-4B4E-A46A-E4FBC3446021}" srcOrd="0" destOrd="0" parTransId="{29D32D32-CE25-4542-8779-D5A804996973}" sibTransId="{4E9F09C7-C65B-4486-BDB9-452370037736}"/>
    <dgm:cxn modelId="{B27AB9F2-7C04-40B4-B5C9-4980780B961E}" type="presOf" srcId="{88A4DBEA-D30F-4D3A-9F86-2CBD67D54C26}" destId="{487C3149-E5B4-4C9A-84F0-ED4CD851283D}" srcOrd="0" destOrd="0" presId="urn:microsoft.com/office/officeart/2005/8/layout/arrow2"/>
    <dgm:cxn modelId="{F8EDFBCA-A0E9-402C-9339-30C00EA81AEF}" type="presOf" srcId="{9B0CE75E-6E53-45D6-86A9-3A0FD63F8DB1}" destId="{98232FA1-4721-4C71-BEE8-D8EB2AE0CFAB}" srcOrd="0" destOrd="0" presId="urn:microsoft.com/office/officeart/2005/8/layout/arrow2"/>
    <dgm:cxn modelId="{F0260F00-3D66-4480-8A61-D7786E1F79EA}" type="presOf" srcId="{5687058F-3486-4B4E-A46A-E4FBC3446021}" destId="{B3067B31-2690-4E5D-8870-B7632BB2B69E}" srcOrd="0" destOrd="0" presId="urn:microsoft.com/office/officeart/2005/8/layout/arrow2"/>
    <dgm:cxn modelId="{1357B56B-7419-4E76-82A2-57344999C76E}" srcId="{788D353C-1B91-487B-B77C-6DCACF5C088A}" destId="{88A4DBEA-D30F-4D3A-9F86-2CBD67D54C26}" srcOrd="2" destOrd="0" parTransId="{89774D99-6527-48D3-92CC-E23893A29CE3}" sibTransId="{57940D1E-6F9E-4BA6-BD4D-FA73B73A8883}"/>
    <dgm:cxn modelId="{B7F1B7DF-D057-44F2-928F-3FB8A79C923E}" type="presOf" srcId="{788D353C-1B91-487B-B77C-6DCACF5C088A}" destId="{B1EF22E3-9C05-4615-8D9D-4F76C6AF3DD6}" srcOrd="0" destOrd="0" presId="urn:microsoft.com/office/officeart/2005/8/layout/arrow2"/>
    <dgm:cxn modelId="{77B5D85D-AF5F-4C32-BCFF-8B04FED701EB}" srcId="{788D353C-1B91-487B-B77C-6DCACF5C088A}" destId="{9B0CE75E-6E53-45D6-86A9-3A0FD63F8DB1}" srcOrd="1" destOrd="0" parTransId="{A1EF5BC0-72C5-4D0E-A967-6B7BD35571E0}" sibTransId="{8A0F5EC6-031F-4CF3-B06A-7BB365EC2BAB}"/>
    <dgm:cxn modelId="{5F656429-B411-45B5-802E-BBE3DD5886AB}" type="presParOf" srcId="{B1EF22E3-9C05-4615-8D9D-4F76C6AF3DD6}" destId="{3F634E8B-B2B5-4BA8-959E-7A98DD4066DA}" srcOrd="0" destOrd="0" presId="urn:microsoft.com/office/officeart/2005/8/layout/arrow2"/>
    <dgm:cxn modelId="{5358536C-CD60-437F-80A9-78741E0EA9D5}" type="presParOf" srcId="{B1EF22E3-9C05-4615-8D9D-4F76C6AF3DD6}" destId="{8D1AC9EC-4CE9-4DD4-986E-3933450B57E2}" srcOrd="1" destOrd="0" presId="urn:microsoft.com/office/officeart/2005/8/layout/arrow2"/>
    <dgm:cxn modelId="{21D3C340-C0F7-4644-8396-C779C99B6C3D}" type="presParOf" srcId="{8D1AC9EC-4CE9-4DD4-986E-3933450B57E2}" destId="{DEFD10CD-FBA6-4DEA-B388-0DB6314F64A6}" srcOrd="0" destOrd="0" presId="urn:microsoft.com/office/officeart/2005/8/layout/arrow2"/>
    <dgm:cxn modelId="{2FEB2424-85D0-4BD8-8EC2-947616AF08AE}" type="presParOf" srcId="{8D1AC9EC-4CE9-4DD4-986E-3933450B57E2}" destId="{B3067B31-2690-4E5D-8870-B7632BB2B69E}" srcOrd="1" destOrd="0" presId="urn:microsoft.com/office/officeart/2005/8/layout/arrow2"/>
    <dgm:cxn modelId="{66C5B6B1-8F58-4694-86F9-0E9861733D8F}" type="presParOf" srcId="{8D1AC9EC-4CE9-4DD4-986E-3933450B57E2}" destId="{A1104275-1407-482F-81F4-97BA75F54055}" srcOrd="2" destOrd="0" presId="urn:microsoft.com/office/officeart/2005/8/layout/arrow2"/>
    <dgm:cxn modelId="{32B6DE23-F7E2-4F71-8AB0-658DDE543D52}" type="presParOf" srcId="{8D1AC9EC-4CE9-4DD4-986E-3933450B57E2}" destId="{98232FA1-4721-4C71-BEE8-D8EB2AE0CFAB}" srcOrd="3" destOrd="0" presId="urn:microsoft.com/office/officeart/2005/8/layout/arrow2"/>
    <dgm:cxn modelId="{52BC4B7C-303A-4452-B8CB-60DB02F0C64B}" type="presParOf" srcId="{8D1AC9EC-4CE9-4DD4-986E-3933450B57E2}" destId="{90FD018F-D2E6-43A0-9924-49646D7C5C28}" srcOrd="4" destOrd="0" presId="urn:microsoft.com/office/officeart/2005/8/layout/arrow2"/>
    <dgm:cxn modelId="{00619B28-B9DA-47D1-B339-2018E68AFDE5}" type="presParOf" srcId="{8D1AC9EC-4CE9-4DD4-986E-3933450B57E2}" destId="{487C3149-E5B4-4C9A-84F0-ED4CD851283D}" srcOrd="5" destOrd="0" presId="urn:microsoft.com/office/officeart/2005/8/layout/arrow2"/>
    <dgm:cxn modelId="{3CAE6FF2-05AE-4C7A-8E1B-253B2617129E}" type="presParOf" srcId="{8D1AC9EC-4CE9-4DD4-986E-3933450B57E2}" destId="{E951EFA2-24D0-4164-983E-3810D9167BBB}" srcOrd="6" destOrd="0" presId="urn:microsoft.com/office/officeart/2005/8/layout/arrow2"/>
    <dgm:cxn modelId="{AA840A63-0A3A-419E-BF1E-3DABD930553E}" type="presParOf" srcId="{8D1AC9EC-4CE9-4DD4-986E-3933450B57E2}" destId="{61C9B823-58ED-4D80-A575-E143CD3ACAF3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25409D8-6E7D-4736-B414-BA25B110410E}">
      <dsp:nvSpPr>
        <dsp:cNvPr id="0" name=""/>
        <dsp:cNvSpPr/>
      </dsp:nvSpPr>
      <dsp:spPr>
        <a:xfrm>
          <a:off x="5603275" y="999636"/>
          <a:ext cx="91440" cy="40693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64627"/>
              </a:lnTo>
              <a:lnTo>
                <a:pt x="46518" y="264627"/>
              </a:lnTo>
              <a:lnTo>
                <a:pt x="46518" y="40693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0B562E-54F3-49B7-B85F-A71595FBBEB0}">
      <dsp:nvSpPr>
        <dsp:cNvPr id="0" name=""/>
        <dsp:cNvSpPr/>
      </dsp:nvSpPr>
      <dsp:spPr>
        <a:xfrm>
          <a:off x="2495028" y="24185"/>
          <a:ext cx="3153967" cy="937676"/>
        </a:xfrm>
        <a:custGeom>
          <a:avLst/>
          <a:gdLst/>
          <a:ahLst/>
          <a:cxnLst/>
          <a:rect l="0" t="0" r="0" b="0"/>
          <a:pathLst>
            <a:path>
              <a:moveTo>
                <a:pt x="0" y="937676"/>
              </a:moveTo>
              <a:lnTo>
                <a:pt x="3153967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1A6C88-5E81-4582-902A-0C6A64CB3B3B}">
      <dsp:nvSpPr>
        <dsp:cNvPr id="0" name=""/>
        <dsp:cNvSpPr/>
      </dsp:nvSpPr>
      <dsp:spPr>
        <a:xfrm>
          <a:off x="2495028" y="961861"/>
          <a:ext cx="1134380" cy="4607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8462"/>
              </a:lnTo>
              <a:lnTo>
                <a:pt x="1134380" y="318462"/>
              </a:lnTo>
              <a:lnTo>
                <a:pt x="1134380" y="46076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2AF482-EBD6-40AC-811C-3E8AAF03BC08}">
      <dsp:nvSpPr>
        <dsp:cNvPr id="0" name=""/>
        <dsp:cNvSpPr/>
      </dsp:nvSpPr>
      <dsp:spPr>
        <a:xfrm>
          <a:off x="1751900" y="961861"/>
          <a:ext cx="743128" cy="460769"/>
        </a:xfrm>
        <a:custGeom>
          <a:avLst/>
          <a:gdLst/>
          <a:ahLst/>
          <a:cxnLst/>
          <a:rect l="0" t="0" r="0" b="0"/>
          <a:pathLst>
            <a:path>
              <a:moveTo>
                <a:pt x="743128" y="0"/>
              </a:moveTo>
              <a:lnTo>
                <a:pt x="743128" y="318462"/>
              </a:lnTo>
              <a:lnTo>
                <a:pt x="0" y="318462"/>
              </a:lnTo>
              <a:lnTo>
                <a:pt x="0" y="46076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3E6E5A-FB3C-4FDE-AEF1-87AE3C7956FF}">
      <dsp:nvSpPr>
        <dsp:cNvPr id="0" name=""/>
        <dsp:cNvSpPr/>
      </dsp:nvSpPr>
      <dsp:spPr>
        <a:xfrm>
          <a:off x="1726956" y="-13589"/>
          <a:ext cx="1536143" cy="9754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CA90E2-8C98-4508-B4CD-CF9B1FEE4B76}">
      <dsp:nvSpPr>
        <dsp:cNvPr id="0" name=""/>
        <dsp:cNvSpPr/>
      </dsp:nvSpPr>
      <dsp:spPr>
        <a:xfrm>
          <a:off x="1897639" y="148558"/>
          <a:ext cx="1536143" cy="975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t-LT" sz="2500" kern="1200" dirty="0" smtClean="0"/>
            <a:t>23</a:t>
          </a:r>
          <a:r>
            <a:rPr lang="en-US" sz="2500" kern="1200" dirty="0" smtClean="0"/>
            <a:t>% RES</a:t>
          </a:r>
          <a:endParaRPr lang="lt-LT" sz="2500" kern="1200" dirty="0"/>
        </a:p>
      </dsp:txBody>
      <dsp:txXfrm>
        <a:off x="1897639" y="148558"/>
        <a:ext cx="1536143" cy="975451"/>
      </dsp:txXfrm>
    </dsp:sp>
    <dsp:sp modelId="{65113A32-0FFB-4DCB-B278-CA9536EA4977}">
      <dsp:nvSpPr>
        <dsp:cNvPr id="0" name=""/>
        <dsp:cNvSpPr/>
      </dsp:nvSpPr>
      <dsp:spPr>
        <a:xfrm>
          <a:off x="983828" y="1422630"/>
          <a:ext cx="1536143" cy="9754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67F23C-4FC6-4F66-BAF9-CA5B19FFC1EB}">
      <dsp:nvSpPr>
        <dsp:cNvPr id="0" name=""/>
        <dsp:cNvSpPr/>
      </dsp:nvSpPr>
      <dsp:spPr>
        <a:xfrm>
          <a:off x="1154510" y="1584779"/>
          <a:ext cx="1536143" cy="975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20%</a:t>
          </a:r>
          <a:r>
            <a:rPr lang="lt-LT" sz="2500" kern="1200" dirty="0" smtClean="0"/>
            <a:t> RES </a:t>
          </a:r>
          <a:r>
            <a:rPr lang="en-US" sz="2500" kern="1200" noProof="0" dirty="0" smtClean="0"/>
            <a:t>Electricity</a:t>
          </a:r>
          <a:endParaRPr lang="lt-LT" sz="2500" kern="1200" dirty="0"/>
        </a:p>
      </dsp:txBody>
      <dsp:txXfrm>
        <a:off x="1154510" y="1584779"/>
        <a:ext cx="1536143" cy="975451"/>
      </dsp:txXfrm>
    </dsp:sp>
    <dsp:sp modelId="{AF356DA6-C288-4739-8969-6CA7D567C910}">
      <dsp:nvSpPr>
        <dsp:cNvPr id="0" name=""/>
        <dsp:cNvSpPr/>
      </dsp:nvSpPr>
      <dsp:spPr>
        <a:xfrm>
          <a:off x="2861336" y="1422630"/>
          <a:ext cx="1536143" cy="9754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451611-DB10-46E2-9640-085192E9F8D8}">
      <dsp:nvSpPr>
        <dsp:cNvPr id="0" name=""/>
        <dsp:cNvSpPr/>
      </dsp:nvSpPr>
      <dsp:spPr>
        <a:xfrm>
          <a:off x="3032019" y="1584779"/>
          <a:ext cx="1536143" cy="975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t-LT" sz="2500" kern="1200" dirty="0" smtClean="0"/>
            <a:t>60</a:t>
          </a:r>
          <a:r>
            <a:rPr lang="en-US" sz="2500" kern="1200" dirty="0" smtClean="0"/>
            <a:t>%</a:t>
          </a:r>
          <a:r>
            <a:rPr lang="lt-LT" sz="2500" kern="1200" dirty="0" smtClean="0"/>
            <a:t> RES CHS</a:t>
          </a:r>
          <a:endParaRPr lang="lt-LT" sz="2500" kern="1200" dirty="0"/>
        </a:p>
      </dsp:txBody>
      <dsp:txXfrm>
        <a:off x="3032019" y="1584779"/>
        <a:ext cx="1536143" cy="975451"/>
      </dsp:txXfrm>
    </dsp:sp>
    <dsp:sp modelId="{AFAA2D53-1FF1-4322-9E80-BA1DB2A4DD44}">
      <dsp:nvSpPr>
        <dsp:cNvPr id="0" name=""/>
        <dsp:cNvSpPr/>
      </dsp:nvSpPr>
      <dsp:spPr>
        <a:xfrm>
          <a:off x="4880923" y="24185"/>
          <a:ext cx="1536143" cy="9754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609B46-8D1A-445B-A66B-1510771BFF64}">
      <dsp:nvSpPr>
        <dsp:cNvPr id="0" name=""/>
        <dsp:cNvSpPr/>
      </dsp:nvSpPr>
      <dsp:spPr>
        <a:xfrm>
          <a:off x="5051606" y="186333"/>
          <a:ext cx="1536143" cy="975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t-LT" sz="2500" kern="1200" dirty="0" smtClean="0"/>
            <a:t>10</a:t>
          </a:r>
          <a:r>
            <a:rPr lang="en-US" sz="2500" kern="1200" dirty="0" smtClean="0"/>
            <a:t>% </a:t>
          </a:r>
          <a:r>
            <a:rPr lang="lt-LT" sz="2500" kern="1200" dirty="0" smtClean="0"/>
            <a:t>RES </a:t>
          </a:r>
          <a:r>
            <a:rPr lang="en-US" sz="2500" kern="1200" dirty="0" smtClean="0"/>
            <a:t>Transport</a:t>
          </a:r>
          <a:endParaRPr lang="lt-LT" sz="2500" kern="1200" dirty="0"/>
        </a:p>
      </dsp:txBody>
      <dsp:txXfrm>
        <a:off x="5051606" y="186333"/>
        <a:ext cx="1536143" cy="975451"/>
      </dsp:txXfrm>
    </dsp:sp>
    <dsp:sp modelId="{0E44AE0B-63E9-40D9-B48F-261AA47F3606}">
      <dsp:nvSpPr>
        <dsp:cNvPr id="0" name=""/>
        <dsp:cNvSpPr/>
      </dsp:nvSpPr>
      <dsp:spPr>
        <a:xfrm>
          <a:off x="4881722" y="1406570"/>
          <a:ext cx="1536143" cy="9754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C0747B-CB6D-4D43-804D-59E18CD958BF}">
      <dsp:nvSpPr>
        <dsp:cNvPr id="0" name=""/>
        <dsp:cNvSpPr/>
      </dsp:nvSpPr>
      <dsp:spPr>
        <a:xfrm>
          <a:off x="5052404" y="1568718"/>
          <a:ext cx="1536143" cy="9754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t-LT" sz="2500" kern="1200" dirty="0" smtClean="0"/>
            <a:t>10</a:t>
          </a:r>
          <a:r>
            <a:rPr lang="en-US" sz="2500" kern="1200" dirty="0" smtClean="0"/>
            <a:t>% </a:t>
          </a:r>
          <a:r>
            <a:rPr lang="lt-LT" sz="2500" kern="1200" dirty="0" smtClean="0"/>
            <a:t>RES </a:t>
          </a:r>
          <a:r>
            <a:rPr lang="en-US" sz="2500" kern="1200" dirty="0" smtClean="0"/>
            <a:t>Transport</a:t>
          </a:r>
          <a:endParaRPr lang="lt-LT" sz="2500" kern="1200" dirty="0"/>
        </a:p>
      </dsp:txBody>
      <dsp:txXfrm>
        <a:off x="5052404" y="1568718"/>
        <a:ext cx="1536143" cy="975451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4F41AC3-05B3-4952-94D3-0F2761D5649C}">
      <dsp:nvSpPr>
        <dsp:cNvPr id="0" name=""/>
        <dsp:cNvSpPr/>
      </dsp:nvSpPr>
      <dsp:spPr>
        <a:xfrm>
          <a:off x="2235" y="1400488"/>
          <a:ext cx="1595941" cy="10134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64C840-28FB-40A7-ADF9-54D000D2B1D1}">
      <dsp:nvSpPr>
        <dsp:cNvPr id="0" name=""/>
        <dsp:cNvSpPr/>
      </dsp:nvSpPr>
      <dsp:spPr>
        <a:xfrm>
          <a:off x="179562" y="1568949"/>
          <a:ext cx="1595941" cy="10134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t-LT" sz="2500" kern="1200" dirty="0" smtClean="0"/>
            <a:t>20,3</a:t>
          </a:r>
          <a:r>
            <a:rPr lang="en-US" sz="2500" kern="1200" dirty="0" smtClean="0"/>
            <a:t>%</a:t>
          </a:r>
          <a:r>
            <a:rPr lang="lt-LT" sz="2500" kern="1200" dirty="0" smtClean="0"/>
            <a:t> RES</a:t>
          </a:r>
          <a:endParaRPr lang="lt-LT" sz="2500" kern="1200" dirty="0"/>
        </a:p>
      </dsp:txBody>
      <dsp:txXfrm>
        <a:off x="179562" y="1568949"/>
        <a:ext cx="1595941" cy="1013422"/>
      </dsp:txXfrm>
    </dsp:sp>
    <dsp:sp modelId="{B7D1D791-CEBD-4DC0-AB02-244956691B29}">
      <dsp:nvSpPr>
        <dsp:cNvPr id="0" name=""/>
        <dsp:cNvSpPr/>
      </dsp:nvSpPr>
      <dsp:spPr>
        <a:xfrm>
          <a:off x="1952830" y="1400488"/>
          <a:ext cx="1595941" cy="10134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3C151B-FCA3-400B-98AF-0AB63D6B5D40}">
      <dsp:nvSpPr>
        <dsp:cNvPr id="0" name=""/>
        <dsp:cNvSpPr/>
      </dsp:nvSpPr>
      <dsp:spPr>
        <a:xfrm>
          <a:off x="2130157" y="1568949"/>
          <a:ext cx="1595941" cy="10134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t-LT" sz="2500" kern="1200" dirty="0" smtClean="0"/>
            <a:t>10,9</a:t>
          </a:r>
          <a:r>
            <a:rPr lang="en-US" sz="2500" kern="1200" dirty="0" smtClean="0"/>
            <a:t>%</a:t>
          </a:r>
          <a:r>
            <a:rPr lang="lt-LT" sz="2500" kern="1200" dirty="0" smtClean="0"/>
            <a:t> RES </a:t>
          </a:r>
          <a:r>
            <a:rPr lang="en-US" sz="2500" kern="1200" noProof="0" dirty="0" smtClean="0"/>
            <a:t>Electricity</a:t>
          </a:r>
          <a:endParaRPr lang="en-US" sz="2500" kern="1200" noProof="0" dirty="0"/>
        </a:p>
      </dsp:txBody>
      <dsp:txXfrm>
        <a:off x="2130157" y="1568949"/>
        <a:ext cx="1595941" cy="1013422"/>
      </dsp:txXfrm>
    </dsp:sp>
    <dsp:sp modelId="{00DAB9BA-ABA2-45D2-894F-EDAD0D562140}">
      <dsp:nvSpPr>
        <dsp:cNvPr id="0" name=""/>
        <dsp:cNvSpPr/>
      </dsp:nvSpPr>
      <dsp:spPr>
        <a:xfrm>
          <a:off x="3903425" y="1400488"/>
          <a:ext cx="1595941" cy="10134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793057-DD84-4823-B6DE-59BBE62D3B70}">
      <dsp:nvSpPr>
        <dsp:cNvPr id="0" name=""/>
        <dsp:cNvSpPr/>
      </dsp:nvSpPr>
      <dsp:spPr>
        <a:xfrm>
          <a:off x="4080752" y="1568949"/>
          <a:ext cx="1595941" cy="10134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t-LT" sz="2500" kern="1200" dirty="0" smtClean="0"/>
            <a:t>27,2</a:t>
          </a:r>
          <a:r>
            <a:rPr lang="en-US" sz="2500" kern="1200" dirty="0" smtClean="0"/>
            <a:t>%</a:t>
          </a:r>
          <a:r>
            <a:rPr lang="lt-LT" sz="2500" kern="1200" dirty="0" smtClean="0"/>
            <a:t> RES CHS</a:t>
          </a:r>
          <a:endParaRPr lang="lt-LT" sz="2500" kern="1200" dirty="0"/>
        </a:p>
      </dsp:txBody>
      <dsp:txXfrm>
        <a:off x="4080752" y="1568949"/>
        <a:ext cx="1595941" cy="1013422"/>
      </dsp:txXfrm>
    </dsp:sp>
    <dsp:sp modelId="{D89ADE50-4E26-4B52-97AA-7B11BFAD690F}">
      <dsp:nvSpPr>
        <dsp:cNvPr id="0" name=""/>
        <dsp:cNvSpPr/>
      </dsp:nvSpPr>
      <dsp:spPr>
        <a:xfrm>
          <a:off x="5854021" y="1400488"/>
          <a:ext cx="1595941" cy="101342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EAA0B3-5ECA-480F-B7F2-C38851DEDD5C}">
      <dsp:nvSpPr>
        <dsp:cNvPr id="0" name=""/>
        <dsp:cNvSpPr/>
      </dsp:nvSpPr>
      <dsp:spPr>
        <a:xfrm>
          <a:off x="6031348" y="1568949"/>
          <a:ext cx="1595941" cy="10134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t-LT" sz="2500" kern="1200" dirty="0" smtClean="0"/>
            <a:t>3,7</a:t>
          </a:r>
          <a:r>
            <a:rPr lang="en-US" sz="2500" kern="1200" dirty="0" smtClean="0"/>
            <a:t>%</a:t>
          </a:r>
          <a:r>
            <a:rPr lang="lt-LT" sz="2500" kern="1200" dirty="0" smtClean="0"/>
            <a:t> RES </a:t>
          </a:r>
          <a:r>
            <a:rPr lang="en-US" sz="2500" kern="1200" dirty="0" smtClean="0"/>
            <a:t>Transport</a:t>
          </a:r>
          <a:endParaRPr lang="lt-LT" sz="2500" kern="1200" dirty="0"/>
        </a:p>
      </dsp:txBody>
      <dsp:txXfrm>
        <a:off x="6031348" y="1568949"/>
        <a:ext cx="1595941" cy="1013422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7DE3DFB-69DB-4A51-815E-46CBCBFE17E9}">
      <dsp:nvSpPr>
        <dsp:cNvPr id="0" name=""/>
        <dsp:cNvSpPr/>
      </dsp:nvSpPr>
      <dsp:spPr>
        <a:xfrm rot="5400000">
          <a:off x="982770" y="-60373"/>
          <a:ext cx="1026831" cy="140817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lt-LT" sz="2700" kern="1200" dirty="0" smtClean="0"/>
            <a:t>10,9</a:t>
          </a:r>
          <a:r>
            <a:rPr lang="en-US" sz="2700" kern="1200" dirty="0" smtClean="0"/>
            <a:t>%</a:t>
          </a:r>
          <a:r>
            <a:rPr lang="lt-LT" sz="2700" kern="1200" dirty="0" smtClean="0"/>
            <a:t> </a:t>
          </a:r>
          <a:endParaRPr lang="en-US" sz="2700" kern="1200" dirty="0" smtClean="0"/>
        </a:p>
      </dsp:txBody>
      <dsp:txXfrm rot="5400000">
        <a:off x="982770" y="-60373"/>
        <a:ext cx="1026831" cy="1408175"/>
      </dsp:txXfrm>
    </dsp:sp>
    <dsp:sp modelId="{E8DC154B-1D8E-4228-BA42-4F2C35C5FB9B}">
      <dsp:nvSpPr>
        <dsp:cNvPr id="0" name=""/>
        <dsp:cNvSpPr/>
      </dsp:nvSpPr>
      <dsp:spPr>
        <a:xfrm>
          <a:off x="0" y="1944"/>
          <a:ext cx="792098" cy="12835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vert270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noProof="0" dirty="0" smtClean="0"/>
            <a:t>Electricity</a:t>
          </a:r>
          <a:endParaRPr lang="en-US" sz="1800" kern="1200" noProof="0" dirty="0"/>
        </a:p>
      </dsp:txBody>
      <dsp:txXfrm>
        <a:off x="0" y="1944"/>
        <a:ext cx="792098" cy="1283539"/>
      </dsp:txXfrm>
    </dsp:sp>
    <dsp:sp modelId="{080E0A3B-F10A-4E6C-91CA-A1789138E1EC}">
      <dsp:nvSpPr>
        <dsp:cNvPr id="0" name=""/>
        <dsp:cNvSpPr/>
      </dsp:nvSpPr>
      <dsp:spPr>
        <a:xfrm rot="5400000">
          <a:off x="982770" y="1287342"/>
          <a:ext cx="1026831" cy="140817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lt-LT" sz="2700" kern="1200" dirty="0" smtClean="0"/>
            <a:t>27,2</a:t>
          </a:r>
          <a:r>
            <a:rPr lang="en-US" sz="2700" kern="1200" dirty="0" smtClean="0"/>
            <a:t>%</a:t>
          </a:r>
          <a:r>
            <a:rPr lang="lt-LT" sz="2700" kern="1200" dirty="0" smtClean="0"/>
            <a:t> </a:t>
          </a:r>
          <a:endParaRPr lang="en-US" sz="2700" kern="1200" noProof="0" dirty="0"/>
        </a:p>
      </dsp:txBody>
      <dsp:txXfrm rot="5400000">
        <a:off x="982770" y="1287342"/>
        <a:ext cx="1026831" cy="1408175"/>
      </dsp:txXfrm>
    </dsp:sp>
    <dsp:sp modelId="{C3C8343C-3B16-4438-B5F8-56FED468655E}">
      <dsp:nvSpPr>
        <dsp:cNvPr id="0" name=""/>
        <dsp:cNvSpPr/>
      </dsp:nvSpPr>
      <dsp:spPr>
        <a:xfrm>
          <a:off x="0" y="1349660"/>
          <a:ext cx="792098" cy="12835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vert270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t-LT" sz="1800" kern="1200" dirty="0" smtClean="0"/>
            <a:t>CHS</a:t>
          </a:r>
          <a:endParaRPr lang="lt-LT" sz="1800" kern="1200" dirty="0"/>
        </a:p>
      </dsp:txBody>
      <dsp:txXfrm>
        <a:off x="0" y="1349660"/>
        <a:ext cx="792098" cy="1283539"/>
      </dsp:txXfrm>
    </dsp:sp>
    <dsp:sp modelId="{5BDCADB2-9FA7-4C64-BCC0-FC3136E637E9}">
      <dsp:nvSpPr>
        <dsp:cNvPr id="0" name=""/>
        <dsp:cNvSpPr/>
      </dsp:nvSpPr>
      <dsp:spPr>
        <a:xfrm rot="5400000">
          <a:off x="982770" y="2635058"/>
          <a:ext cx="1026831" cy="140817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700" kern="1200" dirty="0" smtClean="0"/>
            <a:t>3,7 % </a:t>
          </a:r>
          <a:endParaRPr lang="lt-LT" sz="2700" kern="1200" dirty="0"/>
        </a:p>
      </dsp:txBody>
      <dsp:txXfrm rot="5400000">
        <a:off x="982770" y="2635058"/>
        <a:ext cx="1026831" cy="1408175"/>
      </dsp:txXfrm>
    </dsp:sp>
    <dsp:sp modelId="{B87F83C2-B292-476B-938E-59363D1B57CE}">
      <dsp:nvSpPr>
        <dsp:cNvPr id="0" name=""/>
        <dsp:cNvSpPr/>
      </dsp:nvSpPr>
      <dsp:spPr>
        <a:xfrm>
          <a:off x="0" y="2697377"/>
          <a:ext cx="792098" cy="128353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vert270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Transport</a:t>
          </a:r>
          <a:endParaRPr lang="lt-LT" sz="1800" kern="1200" dirty="0"/>
        </a:p>
      </dsp:txBody>
      <dsp:txXfrm>
        <a:off x="0" y="2697377"/>
        <a:ext cx="792098" cy="1283539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8194A27-AC86-4A3C-A1B0-8F05E6A46342}">
      <dsp:nvSpPr>
        <dsp:cNvPr id="0" name=""/>
        <dsp:cNvSpPr/>
      </dsp:nvSpPr>
      <dsp:spPr>
        <a:xfrm rot="4396374">
          <a:off x="1027062" y="792558"/>
          <a:ext cx="3438241" cy="2397744"/>
        </a:xfrm>
        <a:prstGeom prst="swooshArrow">
          <a:avLst>
            <a:gd name="adj1" fmla="val 16310"/>
            <a:gd name="adj2" fmla="val 313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32E597-42EB-4354-B0A2-DB30B4561A36}">
      <dsp:nvSpPr>
        <dsp:cNvPr id="0" name=""/>
        <dsp:cNvSpPr/>
      </dsp:nvSpPr>
      <dsp:spPr>
        <a:xfrm>
          <a:off x="2461806" y="1212382"/>
          <a:ext cx="86826" cy="86826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6C4FE2-A1B9-4699-9D6B-5818C0158708}">
      <dsp:nvSpPr>
        <dsp:cNvPr id="0" name=""/>
        <dsp:cNvSpPr/>
      </dsp:nvSpPr>
      <dsp:spPr>
        <a:xfrm>
          <a:off x="3217992" y="1949610"/>
          <a:ext cx="86826" cy="86826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B300B9-4DA2-4B85-A8F6-BE13F834AF81}">
      <dsp:nvSpPr>
        <dsp:cNvPr id="0" name=""/>
        <dsp:cNvSpPr/>
      </dsp:nvSpPr>
      <dsp:spPr>
        <a:xfrm>
          <a:off x="796572" y="0"/>
          <a:ext cx="1621024" cy="6372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b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noProof="0" dirty="0" smtClean="0"/>
            <a:t>Inexperience</a:t>
          </a:r>
        </a:p>
      </dsp:txBody>
      <dsp:txXfrm>
        <a:off x="796572" y="0"/>
        <a:ext cx="1621024" cy="637257"/>
      </dsp:txXfrm>
    </dsp:sp>
    <dsp:sp modelId="{861984DA-3428-44C5-9672-CD900574E995}">
      <dsp:nvSpPr>
        <dsp:cNvPr id="0" name=""/>
        <dsp:cNvSpPr/>
      </dsp:nvSpPr>
      <dsp:spPr>
        <a:xfrm>
          <a:off x="2943334" y="937167"/>
          <a:ext cx="2234385" cy="6372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noProof="0" dirty="0" smtClean="0"/>
            <a:t>Grid misbalance</a:t>
          </a:r>
        </a:p>
      </dsp:txBody>
      <dsp:txXfrm>
        <a:off x="2943334" y="937167"/>
        <a:ext cx="2234385" cy="637257"/>
      </dsp:txXfrm>
    </dsp:sp>
    <dsp:sp modelId="{42C6D128-4D9D-40D6-BA17-C2CC33C8F9E8}">
      <dsp:nvSpPr>
        <dsp:cNvPr id="0" name=""/>
        <dsp:cNvSpPr/>
      </dsp:nvSpPr>
      <dsp:spPr>
        <a:xfrm>
          <a:off x="796572" y="1674394"/>
          <a:ext cx="2190573" cy="6372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noProof="0" dirty="0" smtClean="0"/>
            <a:t>Price</a:t>
          </a:r>
          <a:endParaRPr lang="en-US" sz="2200" kern="1200" noProof="0" dirty="0"/>
        </a:p>
      </dsp:txBody>
      <dsp:txXfrm>
        <a:off x="796572" y="1674394"/>
        <a:ext cx="2190573" cy="637257"/>
      </dsp:txXfrm>
    </dsp:sp>
    <dsp:sp modelId="{D2BC0172-3C04-4333-AFD1-CBD075CC2C84}">
      <dsp:nvSpPr>
        <dsp:cNvPr id="0" name=""/>
        <dsp:cNvSpPr/>
      </dsp:nvSpPr>
      <dsp:spPr>
        <a:xfrm>
          <a:off x="2987146" y="3345603"/>
          <a:ext cx="2190573" cy="6372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t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noProof="0" dirty="0" smtClean="0">
              <a:solidFill>
                <a:srgbClr val="FF0000"/>
              </a:solidFill>
            </a:rPr>
            <a:t>RES ATTRACTIVITY</a:t>
          </a:r>
          <a:endParaRPr lang="en-US" sz="2200" kern="1200" noProof="0" dirty="0">
            <a:solidFill>
              <a:srgbClr val="FF0000"/>
            </a:solidFill>
          </a:endParaRPr>
        </a:p>
      </dsp:txBody>
      <dsp:txXfrm>
        <a:off x="2987146" y="3345603"/>
        <a:ext cx="2190573" cy="637257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F634E8B-B2B5-4BA8-959E-7A98DD4066DA}">
      <dsp:nvSpPr>
        <dsp:cNvPr id="0" name=""/>
        <dsp:cNvSpPr/>
      </dsp:nvSpPr>
      <dsp:spPr>
        <a:xfrm>
          <a:off x="0" y="12"/>
          <a:ext cx="5974292" cy="3733932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FD10CD-FBA6-4DEA-B388-0DB6314F64A6}">
      <dsp:nvSpPr>
        <dsp:cNvPr id="0" name=""/>
        <dsp:cNvSpPr/>
      </dsp:nvSpPr>
      <dsp:spPr>
        <a:xfrm>
          <a:off x="588467" y="2901016"/>
          <a:ext cx="137408" cy="13740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067B31-2690-4E5D-8870-B7632BB2B69E}">
      <dsp:nvSpPr>
        <dsp:cNvPr id="0" name=""/>
        <dsp:cNvSpPr/>
      </dsp:nvSpPr>
      <dsp:spPr>
        <a:xfrm>
          <a:off x="678130" y="2983619"/>
          <a:ext cx="1436896" cy="8608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810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Technological improvements</a:t>
          </a:r>
          <a:endParaRPr lang="lt-LT" sz="1400" kern="1200" dirty="0"/>
        </a:p>
      </dsp:txBody>
      <dsp:txXfrm>
        <a:off x="678130" y="2983619"/>
        <a:ext cx="1436896" cy="860878"/>
      </dsp:txXfrm>
    </dsp:sp>
    <dsp:sp modelId="{A1104275-1407-482F-81F4-97BA75F54055}">
      <dsp:nvSpPr>
        <dsp:cNvPr id="0" name=""/>
        <dsp:cNvSpPr/>
      </dsp:nvSpPr>
      <dsp:spPr>
        <a:xfrm>
          <a:off x="1559290" y="2032503"/>
          <a:ext cx="238971" cy="23897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232FA1-4721-4C71-BEE8-D8EB2AE0CFAB}">
      <dsp:nvSpPr>
        <dsp:cNvPr id="0" name=""/>
        <dsp:cNvSpPr/>
      </dsp:nvSpPr>
      <dsp:spPr>
        <a:xfrm>
          <a:off x="1678776" y="2151989"/>
          <a:ext cx="1254601" cy="1706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6626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Planning</a:t>
          </a:r>
          <a:endParaRPr lang="lt-LT" sz="1400" kern="1200" dirty="0"/>
        </a:p>
      </dsp:txBody>
      <dsp:txXfrm>
        <a:off x="1678776" y="2151989"/>
        <a:ext cx="1254601" cy="1706407"/>
      </dsp:txXfrm>
    </dsp:sp>
    <dsp:sp modelId="{90FD018F-D2E6-43A0-9924-49646D7C5C28}">
      <dsp:nvSpPr>
        <dsp:cNvPr id="0" name=""/>
        <dsp:cNvSpPr/>
      </dsp:nvSpPr>
      <dsp:spPr>
        <a:xfrm>
          <a:off x="2798955" y="1392507"/>
          <a:ext cx="316637" cy="31663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7C3149-E5B4-4C9A-84F0-ED4CD851283D}">
      <dsp:nvSpPr>
        <dsp:cNvPr id="0" name=""/>
        <dsp:cNvSpPr/>
      </dsp:nvSpPr>
      <dsp:spPr>
        <a:xfrm>
          <a:off x="2957274" y="1550826"/>
          <a:ext cx="1254601" cy="2307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7780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reating additional value</a:t>
          </a:r>
          <a:endParaRPr lang="lt-LT" sz="1400" kern="1200" dirty="0"/>
        </a:p>
      </dsp:txBody>
      <dsp:txXfrm>
        <a:off x="2957274" y="1550826"/>
        <a:ext cx="1254601" cy="2307570"/>
      </dsp:txXfrm>
    </dsp:sp>
    <dsp:sp modelId="{E951EFA2-24D0-4164-983E-3810D9167BBB}">
      <dsp:nvSpPr>
        <dsp:cNvPr id="0" name=""/>
        <dsp:cNvSpPr/>
      </dsp:nvSpPr>
      <dsp:spPr>
        <a:xfrm>
          <a:off x="4149145" y="969079"/>
          <a:ext cx="424174" cy="42417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C9B823-58ED-4D80-A575-E143CD3ACAF3}">
      <dsp:nvSpPr>
        <dsp:cNvPr id="0" name=""/>
        <dsp:cNvSpPr/>
      </dsp:nvSpPr>
      <dsp:spPr>
        <a:xfrm>
          <a:off x="4361233" y="1181167"/>
          <a:ext cx="1254601" cy="26772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761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New possibilities for RES usage</a:t>
          </a:r>
          <a:endParaRPr lang="lt-LT" sz="1400" kern="1200" dirty="0"/>
        </a:p>
      </dsp:txBody>
      <dsp:txXfrm>
        <a:off x="4361233" y="1181167"/>
        <a:ext cx="1254601" cy="26772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3/layout/DescendingProcess">
  <dgm:title val=""/>
  <dgm:desc val=""/>
  <dgm:catLst>
    <dgm:cat type="process" pri="23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clrData>
  <dgm:layoutNode name="Name0">
    <dgm:varLst>
      <dgm:chMax val="7"/>
      <dgm:chPref val="5"/>
    </dgm:varLst>
    <dgm:alg type="composite">
      <dgm:param type="ar" val="1.1"/>
    </dgm:alg>
    <dgm:shape xmlns:r="http://schemas.openxmlformats.org/officeDocument/2006/relationships" r:blip="">
      <dgm:adjLst/>
    </dgm:shape>
    <dgm:choose name="Name1">
      <dgm:if name="Name2" axis="ch" ptType="node" func="cnt" op="equ" val="1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</dgm:constrLst>
      </dgm:if>
      <dgm:if name="Name3" axis="ch" ptType="node" func="cnt" op="equ" val="2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"/>
          <dgm:constr type="b" for="ch" forName="txNode2" refType="h"/>
          <dgm:constr type="r" for="ch" forName="txNode2" refType="w"/>
          <dgm:constr type="h" for="ch" forName="txNode2" refType="h" fact="0.16"/>
        </dgm:constrLst>
      </dgm:if>
      <dgm:if name="Name4" axis="ch" ptType="node" func="cnt" op="equ" val="3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6"/>
          <dgm:constr type="ctrY" for="ch" forName="txNode2" refType="h" fact="0.3992"/>
          <dgm:constr type="r" for="ch" forName="txNode2" refType="w"/>
          <dgm:constr type="h" for="ch" forName="txNode2" refType="h" fact="0.16"/>
          <dgm:constr type="l" for="ch" forName="txNode3" refType="w" fact="0.5"/>
          <dgm:constr type="b" for="ch" forName="txNode3" refType="h"/>
          <dgm:constr type="r" for="ch" forName="txNode3" refType="w"/>
          <dgm:constr type="h" for="ch" forName="txNode3" refType="h" fact="0.16"/>
          <dgm:constr type="ctrX" for="ch" forName="dotNode2" refType="w" fact="0.4782"/>
          <dgm:constr type="ctrY" for="ch" forName="dotNode2" refType="h" fact="0.3992"/>
          <dgm:constr type="h" for="ch" forName="dotNode2" refType="h" fact="0.0218"/>
          <dgm:constr type="w" for="ch" forName="dotNode2" refType="h" refFor="ch" refForName="dotNode2"/>
        </dgm:constrLst>
      </dgm:if>
      <dgm:if name="Name5" axis="ch" ptType="node" func="cnt" op="equ" val="4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9"/>
          <dgm:constr type="ctrY" for="ch" forName="txNode2" refType="h" fact="0.315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5004"/>
          <dgm:constr type="r" for="ch" forName="txNode3" refType="w" fact="0.5"/>
          <dgm:constr type="h" for="ch" forName="txNode3" refType="h" fact="0.16"/>
          <dgm:constr type="l" for="ch" forName="txNode4" refType="w" fact="0.5"/>
          <dgm:constr type="b" for="ch" forName="txNode4" refType="h"/>
          <dgm:constr type="r" for="ch" forName="txNode4" refType="w"/>
          <dgm:constr type="h" for="ch" forName="txNode4" refType="h" fact="0.16"/>
          <dgm:constr type="ctrX" for="ch" forName="dotNode2" refType="w" fact="0.39"/>
          <dgm:constr type="ctrY" for="ch" forName="dotNode2" refType="h" fact="0.315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5626"/>
          <dgm:constr type="ctrY" for="ch" forName="dotNode3" refType="h" fact="0.5004"/>
          <dgm:constr type="h" for="ch" forName="dotNode3" refType="h" fact="0.0218"/>
          <dgm:constr type="w" for="ch" forName="dotNode3" refType="h" refFor="ch" refForName="dotNode3"/>
        </dgm:constrLst>
      </dgm:if>
      <dgm:if name="Name6" axis="ch" ptType="node" func="cnt" op="equ" val="5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6"/>
          <dgm:constr type="ctrY" for="ch" forName="txNode2" refType="h" fact="0.2885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4089"/>
          <dgm:constr type="r" for="ch" forName="txNode3" refType="w" fact="0.43"/>
          <dgm:constr type="h" for="ch" forName="txNode3" refType="h" fact="0.16"/>
          <dgm:constr type="l" for="ch" forName="txNode4" refType="w" fact="0.67"/>
          <dgm:constr type="ctrY" for="ch" forName="txNode4" refType="h" fact="0.5497"/>
          <dgm:constr type="r" for="ch" forName="txNode4" refType="w"/>
          <dgm:constr type="h" for="ch" forName="txNode4" refType="h" fact="0.16"/>
          <dgm:constr type="l" for="ch" forName="txNode5" refType="w" fact="0.5"/>
          <dgm:constr type="b" for="ch" forName="txNode5" refType="h"/>
          <dgm:constr type="r" for="ch" forName="txNode5" refType="w"/>
          <dgm:constr type="h" for="ch" forName="txNode5" refType="h" fact="0.16"/>
          <dgm:constr type="ctrX" for="ch" forName="dotNode2" refType="w" fact="0.3565"/>
          <dgm:constr type="ctrY" for="ch" forName="dotNode2" refType="h" fact="0.2885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922"/>
          <dgm:constr type="ctrY" for="ch" forName="dotNode3" refType="h" fact="0.4089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939"/>
          <dgm:constr type="ctrY" for="ch" forName="dotNode4" refType="h" fact="0.5497"/>
          <dgm:constr type="h" for="ch" forName="dotNode4" refType="h" fact="0.0218"/>
          <dgm:constr type="w" for="ch" forName="dotNode4" refType="h" refFor="ch" refForName="dotNode4"/>
        </dgm:constrLst>
      </dgm:if>
      <dgm:if name="Name7" axis="ch" ptType="node" func="cnt" op="equ" val="6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5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638"/>
          <dgm:constr type="r" for="ch" forName="txNode3" refType="w" fact="0.37"/>
          <dgm:constr type="h" for="ch" forName="txNode3" refType="h" fact="0.16"/>
          <dgm:constr type="l" for="ch" forName="txNode4" refType="w" fact="0.63"/>
          <dgm:constr type="ctrY" for="ch" forName="txNode4" refType="h" fact="0.4744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961"/>
          <dgm:constr type="r" for="ch" forName="txNode5" refType="w" fact="0.55"/>
          <dgm:constr type="h" for="ch" forName="txNode5" refType="h" fact="0.16"/>
          <dgm:constr type="l" for="ch" forName="txNode6" refType="w" fact="0.5"/>
          <dgm:constr type="b" for="ch" forName="txNode6" refType="h"/>
          <dgm:constr type="r" for="ch" forName="txNode6" refType="w"/>
          <dgm:constr type="h" for="ch" forName="txNode6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419"/>
          <dgm:constr type="ctrY" for="ch" forName="dotNode3" refType="h" fact="0.3638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425"/>
          <dgm:constr type="ctrY" for="ch" forName="dotNode4" refType="h" fact="0.4744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6153"/>
          <dgm:constr type="ctrY" for="ch" forName="dotNode5" refType="h" fact="0.5961"/>
          <dgm:constr type="h" for="ch" forName="dotNode5" refType="h" fact="0.0218"/>
          <dgm:constr type="w" for="ch" forName="dotNode5" refType="h" refFor="ch" refForName="dotNode5"/>
        </dgm:constrLst>
      </dgm:if>
      <dgm:else name="Name8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4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424"/>
          <dgm:constr type="r" for="ch" forName="txNode3" refType="w" fact="0.33"/>
          <dgm:constr type="h" for="ch" forName="txNode3" refType="h" fact="0.16"/>
          <dgm:constr type="l" for="ch" forName="txNode4" refType="w" fact="0.61"/>
          <dgm:constr type="ctrY" for="ch" forName="txNode4" refType="h" fact="0.4276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218"/>
          <dgm:constr type="r" for="ch" forName="txNode5" refType="w" fact="0.5"/>
          <dgm:constr type="h" for="ch" forName="txNode5" refType="h" fact="0.16"/>
          <dgm:constr type="l" for="ch" forName="txNode6" refType="w" fact="0.71"/>
          <dgm:constr type="ctrY" for="ch" forName="txNode6" refType="h" fact="0.6179"/>
          <dgm:constr type="r" for="ch" forName="txNode6" refType="w"/>
          <dgm:constr type="h" for="ch" forName="txNode6" refType="h" fact="0.16"/>
          <dgm:constr type="l" for="ch" forName="txNode7" refType="w" fact="0.5"/>
          <dgm:constr type="b" for="ch" forName="txNode7" refType="h"/>
          <dgm:constr type="r" for="ch" forName="txNode7" refType="w"/>
          <dgm:constr type="h" for="ch" forName="txNode7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25"/>
          <dgm:constr type="ctrY" for="ch" forName="dotNode3" refType="h" fact="0.3424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05"/>
          <dgm:constr type="ctrY" for="ch" forName="dotNode4" refType="h" fact="0.4276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5742"/>
          <dgm:constr type="ctrY" for="ch" forName="dotNode5" refType="h" fact="0.5218"/>
          <dgm:constr type="h" for="ch" forName="dotNode5" refType="h" fact="0.0218"/>
          <dgm:constr type="w" for="ch" forName="dotNode5" refType="h" refFor="ch" refForName="dotNode5"/>
          <dgm:constr type="ctrX" for="ch" forName="dotNode6" refType="w" fact="0.63"/>
          <dgm:constr type="ctrY" for="ch" forName="dotNode6" refType="h" fact="0.6179"/>
          <dgm:constr type="h" for="ch" forName="dotNode6" refType="h" fact="0.0218"/>
          <dgm:constr type="w" for="ch" forName="dotNode6" refType="h" refFor="ch" refForName="dotNode6"/>
        </dgm:constrLst>
      </dgm:else>
    </dgm:choose>
    <dgm:forEach name="Name9" axis="self" ptType="parTrans">
      <dgm:forEach name="Name10" axis="self" ptType="sibTrans" st="2">
        <dgm:forEach name="dotRepeat" axis="self">
          <dgm:layoutNode name="dotRepeatNode" styleLbl="fgShp">
            <dgm:alg type="sp"/>
            <dgm:shape xmlns:r="http://schemas.openxmlformats.org/officeDocument/2006/relationships" type="ellipse" r:blip="">
              <dgm:adjLst/>
            </dgm:shape>
            <dgm:presOf axis="self"/>
          </dgm:layoutNode>
        </dgm:forEach>
      </dgm:forEach>
    </dgm:forEach>
    <dgm:choose name="Name11">
      <dgm:if name="Name12" axis="ch" ptType="node" func="cnt" op="gte" val="1">
        <dgm:layoutNode name="arrowNode" styleLbl="node1">
          <dgm:alg type="sp"/>
          <dgm:shape xmlns:r="http://schemas.openxmlformats.org/officeDocument/2006/relationships" rot="73.2729" type="swooshArrow" r:blip="">
            <dgm:adjLst>
              <dgm:adj idx="1" val="0.1631"/>
              <dgm:adj idx="2" val="0.3137"/>
            </dgm:adjLst>
          </dgm:shape>
          <dgm:presOf/>
        </dgm:layoutNode>
      </dgm:if>
      <dgm:else name="Name13"/>
    </dgm:choose>
    <dgm:forEach name="Name14" axis="ch" ptType="node" cnt="1">
      <dgm:layoutNode name="txNode1" styleLbl="revTx">
        <dgm:varLst>
          <dgm:bulletEnabled val="1"/>
        </dgm:varLst>
        <dgm:alg type="tx">
          <dgm:param type="txAnchorVert" val="b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5" axis="ch" ptType="node" st="2" cnt="1">
      <dgm:layoutNode name="txNode2" styleLbl="revTx">
        <dgm:varLst>
          <dgm:bulletEnabled val="1"/>
        </dgm:varLst>
        <dgm:choose name="Name16">
          <dgm:if name="Name17" axis="self" ptType="node" func="revPos" op="equ" val="1">
            <dgm:alg type="tx">
              <dgm:param type="txAnchorVert" val="t"/>
            </dgm:alg>
          </dgm:if>
          <dgm:if name="Name18" axis="self" ptType="node" func="posOdd" op="equ" val="1">
            <dgm:alg type="tx">
              <dgm:param type="parTxLTRAlign" val="r"/>
              <dgm:param type="parTxRTLAlign" val="r"/>
            </dgm:alg>
          </dgm:if>
          <dgm:else name="Name1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20">
        <dgm:if name="Name21" axis="par ch" ptType="all node" func="cnt" op="neq" val="2">
          <dgm:forEach name="Name22" axis="follow" ptType="sibTrans" cnt="1">
            <dgm:layoutNode name="dotNode2">
              <dgm:alg type="sp"/>
              <dgm:shape xmlns:r="http://schemas.openxmlformats.org/officeDocument/2006/relationships" r:blip="">
                <dgm:adjLst/>
              </dgm:shape>
              <dgm:presOf/>
              <dgm:forEach name="Name23" ref="dotRepeat"/>
            </dgm:layoutNode>
          </dgm:forEach>
        </dgm:if>
        <dgm:else name="Name24"/>
      </dgm:choose>
    </dgm:forEach>
    <dgm:forEach name="Name25" axis="ch" ptType="node" st="3" cnt="1">
      <dgm:layoutNode name="txNode3" styleLbl="revTx">
        <dgm:varLst>
          <dgm:bulletEnabled val="1"/>
        </dgm:varLst>
        <dgm:choose name="Name26">
          <dgm:if name="Name27" axis="self" ptType="node" func="revPos" op="equ" val="1">
            <dgm:alg type="tx">
              <dgm:param type="txAnchorVert" val="t"/>
            </dgm:alg>
          </dgm:if>
          <dgm:if name="Name28" axis="self" ptType="node" func="posOdd" op="equ" val="1">
            <dgm:alg type="tx">
              <dgm:param type="parTxLTRAlign" val="r"/>
              <dgm:param type="parTxRTLAlign" val="r"/>
            </dgm:alg>
          </dgm:if>
          <dgm:else name="Name2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30">
        <dgm:if name="Name31" axis="par ch" ptType="all node" func="cnt" op="neq" val="3">
          <dgm:forEach name="Name32" axis="follow" ptType="sibTrans" cnt="1">
            <dgm:layoutNode name="dotNode3">
              <dgm:alg type="sp"/>
              <dgm:shape xmlns:r="http://schemas.openxmlformats.org/officeDocument/2006/relationships" r:blip="">
                <dgm:adjLst/>
              </dgm:shape>
              <dgm:presOf/>
              <dgm:forEach name="Name33" ref="dotRepeat"/>
            </dgm:layoutNode>
          </dgm:forEach>
        </dgm:if>
        <dgm:else name="Name34"/>
      </dgm:choose>
    </dgm:forEach>
    <dgm:forEach name="Name35" axis="ch" ptType="node" st="4" cnt="1">
      <dgm:layoutNode name="txNode4" styleLbl="revTx">
        <dgm:varLst>
          <dgm:bulletEnabled val="1"/>
        </dgm:varLst>
        <dgm:choose name="Name36">
          <dgm:if name="Name37" axis="self" ptType="node" func="revPos" op="equ" val="1">
            <dgm:alg type="tx">
              <dgm:param type="txAnchorVert" val="t"/>
            </dgm:alg>
          </dgm:if>
          <dgm:if name="Name38" axis="self" ptType="node" func="posOdd" op="equ" val="1">
            <dgm:alg type="tx">
              <dgm:param type="parTxLTRAlign" val="r"/>
              <dgm:param type="parTxRTLAlign" val="r"/>
            </dgm:alg>
          </dgm:if>
          <dgm:else name="Name3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40">
        <dgm:if name="Name41" axis="par ch" ptType="all node" func="cnt" op="neq" val="4">
          <dgm:forEach name="Name42" axis="follow" ptType="sibTrans" cnt="1">
            <dgm:layoutNode name="dotNode4">
              <dgm:alg type="sp"/>
              <dgm:shape xmlns:r="http://schemas.openxmlformats.org/officeDocument/2006/relationships" r:blip="">
                <dgm:adjLst/>
              </dgm:shape>
              <dgm:presOf/>
              <dgm:forEach name="Name43" ref="dotRepeat"/>
            </dgm:layoutNode>
          </dgm:forEach>
        </dgm:if>
        <dgm:else name="Name44"/>
      </dgm:choose>
    </dgm:forEach>
    <dgm:forEach name="Name45" axis="ch" ptType="node" st="5" cnt="1">
      <dgm:layoutNode name="txNode5" styleLbl="revTx">
        <dgm:varLst>
          <dgm:bulletEnabled val="1"/>
        </dgm:varLst>
        <dgm:choose name="Name46">
          <dgm:if name="Name47" axis="self" ptType="node" func="revPos" op="equ" val="1">
            <dgm:alg type="tx">
              <dgm:param type="txAnchorVert" val="t"/>
            </dgm:alg>
          </dgm:if>
          <dgm:if name="Name48" axis="self" ptType="node" func="posOdd" op="equ" val="1">
            <dgm:alg type="tx">
              <dgm:param type="parTxLTRAlign" val="r"/>
              <dgm:param type="parTxRTLAlign" val="r"/>
            </dgm:alg>
          </dgm:if>
          <dgm:else name="Name4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50">
        <dgm:if name="Name51" axis="par ch" ptType="all node" func="cnt" op="neq" val="5">
          <dgm:forEach name="Name52" axis="follow" ptType="sibTrans" cnt="1">
            <dgm:layoutNode name="dotNode5">
              <dgm:alg type="sp"/>
              <dgm:shape xmlns:r="http://schemas.openxmlformats.org/officeDocument/2006/relationships" r:blip="">
                <dgm:adjLst/>
              </dgm:shape>
              <dgm:presOf/>
              <dgm:forEach name="Name53" ref="dotRepeat"/>
            </dgm:layoutNode>
          </dgm:forEach>
        </dgm:if>
        <dgm:else name="Name54"/>
      </dgm:choose>
    </dgm:forEach>
    <dgm:forEach name="Name55" axis="ch" ptType="node" st="6" cnt="1">
      <dgm:layoutNode name="txNode6" styleLbl="revTx">
        <dgm:varLst>
          <dgm:bulletEnabled val="1"/>
        </dgm:varLst>
        <dgm:choose name="Name56">
          <dgm:if name="Name57" axis="self" ptType="node" func="revPos" op="equ" val="1">
            <dgm:alg type="tx">
              <dgm:param type="txAnchorVert" val="t"/>
            </dgm:alg>
          </dgm:if>
          <dgm:if name="Name58" axis="self" ptType="node" func="posOdd" op="equ" val="1">
            <dgm:alg type="tx">
              <dgm:param type="parTxLTRAlign" val="r"/>
              <dgm:param type="parTxRTLAlign" val="r"/>
            </dgm:alg>
          </dgm:if>
          <dgm:else name="Name5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60">
        <dgm:if name="Name61" axis="par ch" ptType="all node" func="cnt" op="neq" val="6">
          <dgm:forEach name="Name62" axis="follow" ptType="sibTrans" cnt="1">
            <dgm:layoutNode name="dotNode6">
              <dgm:alg type="sp"/>
              <dgm:shape xmlns:r="http://schemas.openxmlformats.org/officeDocument/2006/relationships" r:blip="">
                <dgm:adjLst/>
              </dgm:shape>
              <dgm:presOf/>
              <dgm:forEach name="Name63" ref="dotRepeat"/>
            </dgm:layoutNode>
          </dgm:forEach>
        </dgm:if>
        <dgm:else name="Name64"/>
      </dgm:choose>
    </dgm:forEach>
    <dgm:forEach name="Name65" axis="ch" ptType="node" st="7" cnt="1">
      <dgm:layoutNode name="txNode7" styleLbl="revTx">
        <dgm:varLst>
          <dgm:bulletEnabled val="1"/>
        </dgm:varLst>
        <dgm:alg type="tx">
          <dgm:param type="txAnchorVert" val="t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22951910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7038" y="622300"/>
            <a:ext cx="5822950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39750" y="5335588"/>
            <a:ext cx="5683250" cy="1223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51538" y="9548813"/>
            <a:ext cx="528637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9163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55EAB479-95BE-4FB9-AC56-29C43723FC7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905375" y="109538"/>
            <a:ext cx="1574800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9163">
              <a:defRPr sz="8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cs-CZ"/>
              <a:t>PRA-LIL003-20100812-22324P1E</a:t>
            </a:r>
          </a:p>
        </p:txBody>
      </p:sp>
    </p:spTree>
    <p:extLst>
      <p:ext uri="{BB962C8B-B14F-4D97-AF65-F5344CB8AC3E}">
        <p14:creationId xmlns:p14="http://schemas.microsoft.com/office/powerpoint/2010/main" xmlns="" val="275128117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5450" y="622300"/>
            <a:ext cx="5822950" cy="4368800"/>
          </a:xfrm>
          <a:ln/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750" y="5335588"/>
            <a:ext cx="5683250" cy="246062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cs-CZ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32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540443" y="5336441"/>
            <a:ext cx="5683209" cy="246101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lt-LT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jpeg"/><Relationship Id="rId5" Type="http://schemas.openxmlformats.org/officeDocument/2006/relationships/image" Target="../media/image3.jpeg"/><Relationship Id="rId4" Type="http://schemas.openxmlformats.org/officeDocument/2006/relationships/image" Target="../media/image6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84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latin typeface="Arial" charset="0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latin typeface="Arial" charset="0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4163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latin typeface="Arial" charset="0"/>
              </a:rPr>
              <a:t>Last Modified 8/13/2010 4:05:09 PM Central Europe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0226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latin typeface="Arial" charset="0"/>
              </a:rPr>
              <a:t>Printed 13.08.2010 14:22:48 Central Europe Standard Time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latin typeface="Arial" charset="0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latin typeface="Arial" charset="0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dirty="0">
                  <a:latin typeface="Arial" charset="0"/>
                </a:rPr>
                <a:t>CONFIDENTIAL AND PROPRIETARY</a:t>
              </a:r>
            </a:p>
            <a:p>
              <a:pPr defTabSz="804863" eaLnBrk="0" hangingPunct="0"/>
              <a:r>
                <a:rPr lang="en-US" sz="800" dirty="0">
                  <a:latin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lt-LT" dirty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lt-LT" dirty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lt-LT" dirty="0"/>
            </a:p>
          </p:txBody>
        </p:sp>
      </p:grpSp>
      <p:pic>
        <p:nvPicPr>
          <p:cNvPr id="15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 descr="Fonas_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480" t="20197"/>
          <a:stretch>
            <a:fillRect/>
          </a:stretch>
        </p:blipFill>
        <p:spPr bwMode="auto">
          <a:xfrm>
            <a:off x="0" y="0"/>
            <a:ext cx="6372225" cy="154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oup 1230"/>
          <p:cNvGrpSpPr>
            <a:grpSpLocks/>
          </p:cNvGrpSpPr>
          <p:nvPr/>
        </p:nvGrpSpPr>
        <p:grpSpPr bwMode="auto">
          <a:xfrm>
            <a:off x="0" y="4365625"/>
            <a:ext cx="8958263" cy="1584325"/>
            <a:chOff x="0" y="2750"/>
            <a:chExt cx="5760" cy="998"/>
          </a:xfrm>
        </p:grpSpPr>
        <p:pic>
          <p:nvPicPr>
            <p:cNvPr id="18" name="Picture 7" descr="Linija"/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702"/>
              <a:ext cx="5760" cy="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8" descr="Fonas_2"/>
            <p:cNvPicPr>
              <a:picLocks noChangeAspect="1" noChangeArrowheads="1"/>
            </p:cNvPicPr>
            <p:nvPr userDrawn="1"/>
          </p:nvPicPr>
          <p:blipFill>
            <a:blip r:embed="rId5" cstate="print">
              <a:grayscl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2480" b="21919"/>
            <a:stretch>
              <a:fillRect/>
            </a:stretch>
          </p:blipFill>
          <p:spPr bwMode="auto">
            <a:xfrm>
              <a:off x="1746" y="2750"/>
              <a:ext cx="4014" cy="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0" name="Picture 3" descr="Logo_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9063" y="6308725"/>
            <a:ext cx="1150937" cy="17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12950" y="2133600"/>
            <a:ext cx="4935538" cy="487363"/>
          </a:xfrm>
        </p:spPr>
        <p:txBody>
          <a:bodyPr anchorCtr="1"/>
          <a:lstStyle>
            <a:lvl1pPr algn="ctr">
              <a:defRPr sz="3200" b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12950" y="3867150"/>
            <a:ext cx="4935538" cy="212725"/>
          </a:xfrm>
        </p:spPr>
        <p:txBody>
          <a:bodyPr anchorCtr="1">
            <a:spAutoFit/>
          </a:bodyPr>
          <a:lstStyle>
            <a:lvl1pPr algn="ctr"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3690340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329508-070E-44C0-BFC8-F8CA533673D3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514659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46E4E1-4265-4F13-92F1-DA1826BF564F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39033894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42D419-0A0E-4B0A-99D5-6D5C6D1AAE0E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38933957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446316-21FE-40CA-8ABD-E79D64F18662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2876298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F9EFC5-5F76-473F-9290-36260165FDBC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28035745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CE249F-F439-45F1-8632-E5E7A144B8B4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22312744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5964238" y="14288"/>
            <a:ext cx="2970212" cy="23018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469313" y="1341438"/>
            <a:ext cx="415925" cy="2916237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Rectangle 280" hidden="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116EB0-B1B3-4807-B846-1D695BE8AF18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743144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C29426-2FB0-4770-9D92-E1264D422062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234097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0C5FDE-E347-4745-91DB-4E629AD96DC0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39984856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6E65D8-C6D5-4D49-9AB4-4FE14885B5C5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9507042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6588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28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29" name="McK Slide Elements"/>
          <p:cNvGrpSpPr>
            <a:grpSpLocks/>
          </p:cNvGrpSpPr>
          <p:nvPr userDrawn="1"/>
        </p:nvGrpSpPr>
        <p:grpSpPr bwMode="auto">
          <a:xfrm>
            <a:off x="1354138" y="6238875"/>
            <a:ext cx="7281862" cy="285750"/>
            <a:chOff x="853" y="3930"/>
            <a:chExt cx="4587" cy="180"/>
          </a:xfrm>
        </p:grpSpPr>
        <p:sp>
          <p:nvSpPr>
            <p:cNvPr id="104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853" y="3930"/>
              <a:ext cx="4587" cy="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00" dirty="0" smtClean="0"/>
                <a:t>1 Footnote</a:t>
              </a:r>
            </a:p>
          </p:txBody>
        </p:sp>
        <p:sp>
          <p:nvSpPr>
            <p:cNvPr id="1042" name="McK 5. Source" hidden="1"/>
            <p:cNvSpPr>
              <a:spLocks noChangeArrowheads="1"/>
            </p:cNvSpPr>
            <p:nvPr userDrawn="1"/>
          </p:nvSpPr>
          <p:spPr bwMode="auto">
            <a:xfrm>
              <a:off x="853" y="4043"/>
              <a:ext cx="4466" cy="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7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30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39" name="AutoShape 249" hidden="1"/>
            <p:cNvCxnSpPr>
              <a:cxnSpLocks noChangeShapeType="1"/>
              <a:stCxn id="1040" idx="4"/>
              <a:endCxn id="104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1040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/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 hidden="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EBE5ED08-A9AB-4D93-9B1B-0ED71FF0C24E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1032" name="Printed" hidden="1"/>
          <p:cNvSpPr txBox="1">
            <a:spLocks noChangeArrowheads="1"/>
          </p:cNvSpPr>
          <p:nvPr/>
        </p:nvSpPr>
        <p:spPr bwMode="auto">
          <a:xfrm rot="5400000">
            <a:off x="8451057" y="4171156"/>
            <a:ext cx="8747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Printed 13.08.2010 14:22:48</a:t>
            </a:r>
            <a:endParaRPr lang="en-US" dirty="0" smtClean="0"/>
          </a:p>
        </p:txBody>
      </p:sp>
      <p:sp>
        <p:nvSpPr>
          <p:cNvPr id="1033" name="Rectangle 286" hidden="1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4" name="Picture 3" descr="Logo_1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9063" y="6308725"/>
            <a:ext cx="1150937" cy="17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2" descr="Linija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5876925"/>
            <a:ext cx="8961438" cy="7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6" name="Picture 5" descr="Fonas_2"/>
          <p:cNvPicPr>
            <a:picLocks noChangeAspect="1" noChangeArrowheads="1"/>
          </p:cNvPicPr>
          <p:nvPr/>
        </p:nvPicPr>
        <p:blipFill>
          <a:blip r:embed="rId15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480" b="21919"/>
          <a:stretch>
            <a:fillRect/>
          </a:stretch>
        </p:blipFill>
        <p:spPr bwMode="auto">
          <a:xfrm>
            <a:off x="2716213" y="4365625"/>
            <a:ext cx="6245225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7" name="Rectangle 296" hidden="1"/>
          <p:cNvSpPr>
            <a:spLocks noChangeArrowheads="1"/>
          </p:cNvSpPr>
          <p:nvPr/>
        </p:nvSpPr>
        <p:spPr bwMode="auto">
          <a:xfrm>
            <a:off x="0" y="4019550"/>
            <a:ext cx="8961438" cy="1857375"/>
          </a:xfrm>
          <a:prstGeom prst="rect">
            <a:avLst/>
          </a:prstGeom>
          <a:solidFill>
            <a:schemeClr val="bg1">
              <a:alpha val="5999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lt-LT" dirty="0"/>
          </a:p>
        </p:txBody>
      </p:sp>
      <p:sp>
        <p:nvSpPr>
          <p:cNvPr id="1038" name="Slide Number Placeholder 2"/>
          <p:cNvSpPr txBox="1">
            <a:spLocks noGrp="1"/>
          </p:cNvSpPr>
          <p:nvPr userDrawn="1"/>
        </p:nvSpPr>
        <p:spPr bwMode="auto">
          <a:xfrm>
            <a:off x="8642350" y="6381750"/>
            <a:ext cx="1952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3F45859-2D52-461C-9431-8BFF47A2D4E7}" type="slidenum">
              <a:rPr lang="en-US" sz="1000" smtClean="0">
                <a:solidFill>
                  <a:srgbClr val="000000"/>
                </a:solidFill>
              </a:rPr>
              <a:pPr eaLnBrk="1" hangingPunct="1">
                <a:defRPr/>
              </a:pPr>
              <a:t>‹#›</a:t>
            </a:fld>
            <a:r>
              <a:rPr lang="en-US" sz="1000" dirty="0" smtClean="0">
                <a:solidFill>
                  <a:srgbClr val="000000"/>
                </a:solidFill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20" r:id="rId2"/>
    <p:sldLayoutId id="2147484021" r:id="rId3"/>
    <p:sldLayoutId id="2147484022" r:id="rId4"/>
    <p:sldLayoutId id="2147484023" r:id="rId5"/>
    <p:sldLayoutId id="2147484030" r:id="rId6"/>
    <p:sldLayoutId id="2147484024" r:id="rId7"/>
    <p:sldLayoutId id="2147484025" r:id="rId8"/>
    <p:sldLayoutId id="2147484026" r:id="rId9"/>
    <p:sldLayoutId id="2147484027" r:id="rId10"/>
    <p:sldLayoutId id="2147484028" r:id="rId11"/>
  </p:sldLayoutIdLst>
  <p:hf sldNum="0"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Calibri" pitchFamily="34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Calibri" pitchFamily="34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Calibri" pitchFamily="34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Calibri" pitchFamily="34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Calibri" pitchFamily="34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Calibri" pitchFamily="34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Calibri" pitchFamily="34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15000"/>
        <a:buChar char="•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90000"/>
        <a:buChar char="•"/>
        <a:defRPr sz="1600">
          <a:solidFill>
            <a:schemeClr val="tx1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AutoShape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2443652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237" name="think-cell Slide" r:id="rId6" imgW="0" imgH="0" progId="">
              <p:embed/>
            </p:oleObj>
          </a:graphicData>
        </a:graphic>
      </p:graphicFrame>
      <p:sp>
        <p:nvSpPr>
          <p:cNvPr id="1027" name="Antraštė 1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423747" y="1925462"/>
            <a:ext cx="8196146" cy="410880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30" tIns="45715" rIns="91430" bIns="45715" anchor="ctr">
            <a:spAutoFit/>
          </a:bodyPr>
          <a:lstStyle/>
          <a:p>
            <a:pPr algn="ctr">
              <a:defRPr/>
            </a:pPr>
            <a:endParaRPr lang="lt-LT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lt-LT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lt-LT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lt-LT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lt-LT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lt-LT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lt-LT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lt-LT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lt-LT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lt-LT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endParaRPr lang="lt-LT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lt-LT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lt-LT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lt-LT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lt-LT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lt-LT" sz="900" b="1" dirty="0">
              <a:solidFill>
                <a:srgbClr val="002060"/>
              </a:solidFill>
            </a:endParaRPr>
          </a:p>
          <a:p>
            <a:pPr algn="ctr">
              <a:defRPr/>
            </a:pPr>
            <a:endParaRPr lang="lt-LT" sz="900" b="1" dirty="0">
              <a:solidFill>
                <a:srgbClr val="002060"/>
              </a:solidFill>
            </a:endParaRPr>
          </a:p>
          <a:p>
            <a:pPr algn="ctr">
              <a:defRPr/>
            </a:pPr>
            <a:endParaRPr lang="lt-LT" sz="900" b="1" dirty="0">
              <a:solidFill>
                <a:srgbClr val="002060"/>
              </a:solidFill>
            </a:endParaRPr>
          </a:p>
          <a:p>
            <a:pPr algn="ctr">
              <a:defRPr/>
            </a:pPr>
            <a:endParaRPr lang="lt-LT" sz="900" b="1" dirty="0">
              <a:solidFill>
                <a:srgbClr val="002060"/>
              </a:solidFill>
            </a:endParaRPr>
          </a:p>
          <a:p>
            <a:pPr algn="ctr">
              <a:defRPr/>
            </a:pPr>
            <a:endParaRPr lang="en-US" sz="900" b="1" dirty="0">
              <a:solidFill>
                <a:srgbClr val="002060"/>
              </a:solidFill>
            </a:endParaRPr>
          </a:p>
          <a:p>
            <a:pPr algn="ctr">
              <a:defRPr/>
            </a:pPr>
            <a:r>
              <a:rPr lang="lt-LT" sz="2000" dirty="0">
                <a:solidFill>
                  <a:srgbClr val="002060"/>
                </a:solidFill>
              </a:rPr>
              <a:t/>
            </a:r>
            <a:br>
              <a:rPr lang="lt-LT" sz="2000" dirty="0">
                <a:solidFill>
                  <a:srgbClr val="002060"/>
                </a:solidFill>
              </a:rPr>
            </a:br>
            <a:endParaRPr lang="lt-LT" sz="2000" dirty="0">
              <a:solidFill>
                <a:srgbClr val="002060"/>
              </a:solidFill>
            </a:endParaRPr>
          </a:p>
        </p:txBody>
      </p:sp>
      <p:sp>
        <p:nvSpPr>
          <p:cNvPr id="4100" name="Antraštė 1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971549" y="1662113"/>
            <a:ext cx="7273925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5" rIns="91430" bIns="45715" anchor="ctr"/>
          <a:lstStyle/>
          <a:p>
            <a:pPr algn="ctr"/>
            <a:endParaRPr lang="lt-LT" sz="2800" b="1" dirty="0">
              <a:solidFill>
                <a:srgbClr val="00206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00150" y="1400175"/>
            <a:ext cx="669607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dirty="0" smtClean="0"/>
              <a:t>Renewable Energy situation in Lithuania</a:t>
            </a:r>
            <a:endParaRPr lang="lt-LT" sz="5400" dirty="0"/>
          </a:p>
        </p:txBody>
      </p:sp>
      <p:sp>
        <p:nvSpPr>
          <p:cNvPr id="3" name="TextBox 2"/>
          <p:cNvSpPr txBox="1"/>
          <p:nvPr/>
        </p:nvSpPr>
        <p:spPr>
          <a:xfrm>
            <a:off x="2809875" y="4676775"/>
            <a:ext cx="35337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lt-LT" dirty="0" smtClean="0"/>
              <a:t>Gediminas Onaitis</a:t>
            </a:r>
          </a:p>
          <a:p>
            <a:pPr algn="ctr"/>
            <a:r>
              <a:rPr lang="lt-LT" dirty="0" smtClean="0"/>
              <a:t>2013</a:t>
            </a:r>
            <a:endParaRPr lang="lt-L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517796"/>
            <a:ext cx="8618537" cy="369332"/>
          </a:xfrm>
        </p:spPr>
        <p:txBody>
          <a:bodyPr/>
          <a:lstStyle/>
          <a:p>
            <a:pPr algn="ctr"/>
            <a:r>
              <a:rPr lang="en-US" sz="2400" dirty="0" smtClean="0">
                <a:solidFill>
                  <a:srgbClr val="002060"/>
                </a:solidFill>
              </a:rPr>
              <a:t>EU ELECTRICITY PRICES FOR DOMESTIC USERS</a:t>
            </a:r>
            <a:endParaRPr lang="lt-LT" sz="2400" dirty="0">
              <a:solidFill>
                <a:srgbClr val="002060"/>
              </a:solidFill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330684127"/>
              </p:ext>
            </p:extLst>
          </p:nvPr>
        </p:nvGraphicFramePr>
        <p:xfrm>
          <a:off x="461169" y="831851"/>
          <a:ext cx="8039100" cy="4197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939896713"/>
              </p:ext>
            </p:extLst>
          </p:nvPr>
        </p:nvGraphicFramePr>
        <p:xfrm>
          <a:off x="228600" y="981075"/>
          <a:ext cx="8038307" cy="4025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799255906"/>
              </p:ext>
            </p:extLst>
          </p:nvPr>
        </p:nvGraphicFramePr>
        <p:xfrm>
          <a:off x="337343" y="1162050"/>
          <a:ext cx="8286751" cy="39584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2881684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517796"/>
            <a:ext cx="8618537" cy="369332"/>
          </a:xfrm>
        </p:spPr>
        <p:txBody>
          <a:bodyPr/>
          <a:lstStyle/>
          <a:p>
            <a:pPr algn="ctr"/>
            <a:r>
              <a:rPr lang="lt-LT" sz="2400" dirty="0" smtClean="0">
                <a:solidFill>
                  <a:srgbClr val="002060"/>
                </a:solidFill>
              </a:rPr>
              <a:t>RES </a:t>
            </a:r>
            <a:r>
              <a:rPr lang="en-US" sz="2400" dirty="0" smtClean="0">
                <a:solidFill>
                  <a:srgbClr val="002060"/>
                </a:solidFill>
              </a:rPr>
              <a:t>DEVELOPMENT </a:t>
            </a:r>
            <a:r>
              <a:rPr lang="lt-LT" sz="2400" dirty="0" smtClean="0">
                <a:solidFill>
                  <a:srgbClr val="002060"/>
                </a:solidFill>
              </a:rPr>
              <a:t>PROBLEMS</a:t>
            </a:r>
            <a:endParaRPr lang="lt-LT" sz="2400" dirty="0">
              <a:solidFill>
                <a:srgbClr val="002060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xmlns="" val="3423285766"/>
              </p:ext>
            </p:extLst>
          </p:nvPr>
        </p:nvGraphicFramePr>
        <p:xfrm>
          <a:off x="1493573" y="1369307"/>
          <a:ext cx="5974292" cy="3982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895787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887128"/>
            <a:ext cx="8618537" cy="369332"/>
          </a:xfrm>
        </p:spPr>
        <p:txBody>
          <a:bodyPr/>
          <a:lstStyle/>
          <a:p>
            <a:pPr algn="ctr"/>
            <a:r>
              <a:rPr lang="en-US" sz="2400" dirty="0" smtClean="0">
                <a:solidFill>
                  <a:srgbClr val="002060"/>
                </a:solidFill>
              </a:rPr>
              <a:t>RES POSIBILITIES</a:t>
            </a:r>
            <a:endParaRPr lang="en-US" sz="2400" dirty="0">
              <a:solidFill>
                <a:srgbClr val="002060"/>
              </a:solidFill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xmlns="" val="3029044474"/>
              </p:ext>
            </p:extLst>
          </p:nvPr>
        </p:nvGraphicFramePr>
        <p:xfrm>
          <a:off x="1493573" y="1369307"/>
          <a:ext cx="5974292" cy="3982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7467865" y="2486025"/>
            <a:ext cx="13713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FF0000"/>
                </a:solidFill>
              </a:rPr>
              <a:t>COMPETITIVERES </a:t>
            </a:r>
          </a:p>
        </p:txBody>
      </p:sp>
      <p:sp>
        <p:nvSpPr>
          <p:cNvPr id="20" name="4-Point Star 19"/>
          <p:cNvSpPr/>
          <p:nvPr/>
        </p:nvSpPr>
        <p:spPr>
          <a:xfrm>
            <a:off x="7590102" y="1590675"/>
            <a:ext cx="914400" cy="914400"/>
          </a:xfrm>
          <a:prstGeom prst="star4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5787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057400" y="1885950"/>
            <a:ext cx="51339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 smtClean="0"/>
              <a:t>THANK YOU!</a:t>
            </a:r>
            <a:endParaRPr lang="lt-LT" sz="6000" b="1" dirty="0"/>
          </a:p>
        </p:txBody>
      </p:sp>
    </p:spTree>
    <p:extLst>
      <p:ext uri="{BB962C8B-B14F-4D97-AF65-F5344CB8AC3E}">
        <p14:creationId xmlns:p14="http://schemas.microsoft.com/office/powerpoint/2010/main" xmlns="" val="3895787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887128"/>
            <a:ext cx="8618537" cy="369332"/>
          </a:xfrm>
        </p:spPr>
        <p:txBody>
          <a:bodyPr/>
          <a:lstStyle/>
          <a:p>
            <a:pPr algn="ctr"/>
            <a:r>
              <a:rPr lang="en-US" sz="2400" dirty="0" smtClean="0">
                <a:solidFill>
                  <a:srgbClr val="002060"/>
                </a:solidFill>
              </a:rPr>
              <a:t>TARGETS FOR YEAR 2020</a:t>
            </a:r>
            <a:endParaRPr lang="lt-LT" sz="2400" dirty="0">
              <a:solidFill>
                <a:srgbClr val="002060"/>
              </a:solidFill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xmlns="" val="1932934970"/>
              </p:ext>
            </p:extLst>
          </p:nvPr>
        </p:nvGraphicFramePr>
        <p:xfrm>
          <a:off x="1181100" y="2169407"/>
          <a:ext cx="7429500" cy="3982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90512" y="2178931"/>
            <a:ext cx="17811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irective</a:t>
            </a:r>
            <a:r>
              <a:rPr lang="lt-LT" dirty="0" smtClean="0"/>
              <a:t> 2009/28/EB</a:t>
            </a:r>
            <a:endParaRPr lang="lt-LT" dirty="0"/>
          </a:p>
        </p:txBody>
      </p:sp>
      <p:sp>
        <p:nvSpPr>
          <p:cNvPr id="8" name="TextBox 7"/>
          <p:cNvSpPr txBox="1"/>
          <p:nvPr/>
        </p:nvSpPr>
        <p:spPr>
          <a:xfrm>
            <a:off x="342899" y="3648075"/>
            <a:ext cx="17811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National Energy Independence Strategy</a:t>
            </a:r>
            <a:endParaRPr lang="lt-L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887128"/>
            <a:ext cx="8618537" cy="369332"/>
          </a:xfrm>
        </p:spPr>
        <p:txBody>
          <a:bodyPr/>
          <a:lstStyle/>
          <a:p>
            <a:pPr algn="ctr"/>
            <a:r>
              <a:rPr lang="lt-LT" sz="2400" dirty="0" smtClean="0">
                <a:solidFill>
                  <a:srgbClr val="002060"/>
                </a:solidFill>
              </a:rPr>
              <a:t>CURRENT SITUATION</a:t>
            </a:r>
            <a:endParaRPr lang="lt-LT" sz="2400" dirty="0">
              <a:solidFill>
                <a:srgbClr val="002060"/>
              </a:solidFill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xmlns="" val="3575568979"/>
              </p:ext>
            </p:extLst>
          </p:nvPr>
        </p:nvGraphicFramePr>
        <p:xfrm>
          <a:off x="742950" y="1369307"/>
          <a:ext cx="7629525" cy="3982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895787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887128"/>
            <a:ext cx="8618537" cy="369332"/>
          </a:xfrm>
        </p:spPr>
        <p:txBody>
          <a:bodyPr/>
          <a:lstStyle/>
          <a:p>
            <a:pPr algn="ctr"/>
            <a:r>
              <a:rPr lang="en-US" sz="2400" dirty="0" smtClean="0">
                <a:solidFill>
                  <a:srgbClr val="002060"/>
                </a:solidFill>
              </a:rPr>
              <a:t>RES </a:t>
            </a:r>
            <a:r>
              <a:rPr lang="lt-LT" sz="2400" dirty="0" smtClean="0">
                <a:solidFill>
                  <a:srgbClr val="002060"/>
                </a:solidFill>
              </a:rPr>
              <a:t>PERSPECTIVES</a:t>
            </a:r>
            <a:r>
              <a:rPr lang="en-US" sz="2400" dirty="0" smtClean="0">
                <a:solidFill>
                  <a:srgbClr val="002060"/>
                </a:solidFill>
              </a:rPr>
              <a:t> FOR YEAR 2020</a:t>
            </a:r>
            <a:endParaRPr lang="lt-LT" sz="2400" dirty="0">
              <a:solidFill>
                <a:srgbClr val="002060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xmlns="" val="3399471900"/>
              </p:ext>
            </p:extLst>
          </p:nvPr>
        </p:nvGraphicFramePr>
        <p:xfrm>
          <a:off x="742952" y="1369307"/>
          <a:ext cx="2200274" cy="3982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766378005"/>
              </p:ext>
            </p:extLst>
          </p:nvPr>
        </p:nvGraphicFramePr>
        <p:xfrm>
          <a:off x="3662365" y="1594402"/>
          <a:ext cx="3276597" cy="8572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422"/>
                <a:gridCol w="733425"/>
                <a:gridCol w="981075"/>
                <a:gridCol w="828675"/>
              </a:tblGrid>
              <a:tr h="428627">
                <a:tc>
                  <a:txBody>
                    <a:bodyPr/>
                    <a:lstStyle/>
                    <a:p>
                      <a:r>
                        <a:rPr lang="en-US" dirty="0" smtClean="0"/>
                        <a:t>Sun</a:t>
                      </a:r>
                      <a:endParaRPr lang="lt-L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ind</a:t>
                      </a:r>
                      <a:endParaRPr lang="lt-L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iomass</a:t>
                      </a:r>
                      <a:endParaRPr lang="lt-L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ydro</a:t>
                      </a:r>
                      <a:endParaRPr lang="lt-LT" dirty="0"/>
                    </a:p>
                  </a:txBody>
                  <a:tcPr/>
                </a:tc>
              </a:tr>
              <a:tr h="428627">
                <a:tc>
                  <a:txBody>
                    <a:bodyPr/>
                    <a:lstStyle/>
                    <a:p>
                      <a:r>
                        <a:rPr lang="en-US" dirty="0" smtClean="0"/>
                        <a:t>0,5%</a:t>
                      </a:r>
                      <a:endParaRPr lang="lt-L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,4%</a:t>
                      </a:r>
                      <a:endParaRPr lang="lt-L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3%</a:t>
                      </a:r>
                      <a:endParaRPr lang="lt-L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,7%</a:t>
                      </a:r>
                      <a:endParaRPr lang="lt-LT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97928554"/>
              </p:ext>
            </p:extLst>
          </p:nvPr>
        </p:nvGraphicFramePr>
        <p:xfrm>
          <a:off x="3619505" y="2946961"/>
          <a:ext cx="1138237" cy="8572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8237"/>
              </a:tblGrid>
              <a:tr h="428627">
                <a:tc>
                  <a:txBody>
                    <a:bodyPr/>
                    <a:lstStyle/>
                    <a:p>
                      <a:r>
                        <a:rPr lang="en-US" dirty="0" smtClean="0"/>
                        <a:t>Biomass</a:t>
                      </a:r>
                      <a:endParaRPr lang="lt-LT" dirty="0"/>
                    </a:p>
                  </a:txBody>
                  <a:tcPr/>
                </a:tc>
              </a:tr>
              <a:tr h="428627">
                <a:tc>
                  <a:txBody>
                    <a:bodyPr/>
                    <a:lstStyle/>
                    <a:p>
                      <a:r>
                        <a:rPr lang="en-US" dirty="0" smtClean="0"/>
                        <a:t>33%</a:t>
                      </a:r>
                      <a:endParaRPr lang="lt-LT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99744820"/>
              </p:ext>
            </p:extLst>
          </p:nvPr>
        </p:nvGraphicFramePr>
        <p:xfrm>
          <a:off x="3619505" y="4262859"/>
          <a:ext cx="2390773" cy="8572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0773"/>
              </a:tblGrid>
              <a:tr h="428627">
                <a:tc>
                  <a:txBody>
                    <a:bodyPr/>
                    <a:lstStyle/>
                    <a:p>
                      <a:r>
                        <a:rPr lang="en-US" dirty="0" smtClean="0"/>
                        <a:t>Under consideration</a:t>
                      </a:r>
                      <a:endParaRPr lang="lt-LT" dirty="0"/>
                    </a:p>
                  </a:txBody>
                  <a:tcPr/>
                </a:tc>
              </a:tr>
              <a:tr h="428627">
                <a:tc>
                  <a:txBody>
                    <a:bodyPr/>
                    <a:lstStyle/>
                    <a:p>
                      <a:r>
                        <a:rPr lang="en-US" dirty="0" smtClean="0"/>
                        <a:t>Min 6,3%</a:t>
                      </a:r>
                      <a:endParaRPr lang="lt-LT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Plus 3"/>
          <p:cNvSpPr/>
          <p:nvPr/>
        </p:nvSpPr>
        <p:spPr>
          <a:xfrm>
            <a:off x="3009899" y="1778280"/>
            <a:ext cx="561975" cy="555345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4" name="Plus 23"/>
          <p:cNvSpPr/>
          <p:nvPr/>
        </p:nvSpPr>
        <p:spPr>
          <a:xfrm>
            <a:off x="3009897" y="3097916"/>
            <a:ext cx="561975" cy="555345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5" name="Plus 24"/>
          <p:cNvSpPr/>
          <p:nvPr/>
        </p:nvSpPr>
        <p:spPr>
          <a:xfrm>
            <a:off x="2995616" y="4394764"/>
            <a:ext cx="561975" cy="555345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19" name="Equal 18"/>
          <p:cNvSpPr/>
          <p:nvPr/>
        </p:nvSpPr>
        <p:spPr>
          <a:xfrm>
            <a:off x="6996111" y="1778280"/>
            <a:ext cx="561975" cy="53713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610474" y="1754457"/>
            <a:ext cx="12096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FF0000"/>
                </a:solidFill>
              </a:rPr>
              <a:t>31,7%</a:t>
            </a:r>
            <a:endParaRPr lang="lt-LT" sz="3200" b="1" dirty="0">
              <a:solidFill>
                <a:srgbClr val="FF0000"/>
              </a:solidFill>
            </a:endParaRPr>
          </a:p>
        </p:txBody>
      </p:sp>
      <p:sp>
        <p:nvSpPr>
          <p:cNvPr id="28" name="Equal 27"/>
          <p:cNvSpPr/>
          <p:nvPr/>
        </p:nvSpPr>
        <p:spPr>
          <a:xfrm>
            <a:off x="6138862" y="4412978"/>
            <a:ext cx="561975" cy="53713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>
              <a:solidFill>
                <a:schemeClr val="tx1"/>
              </a:solidFill>
            </a:endParaRPr>
          </a:p>
        </p:txBody>
      </p:sp>
      <p:sp>
        <p:nvSpPr>
          <p:cNvPr id="29" name="Equal 28"/>
          <p:cNvSpPr/>
          <p:nvPr/>
        </p:nvSpPr>
        <p:spPr>
          <a:xfrm>
            <a:off x="4800604" y="3116130"/>
            <a:ext cx="561975" cy="537131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>
              <a:solidFill>
                <a:schemeClr val="tx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448299" y="3092307"/>
            <a:ext cx="13430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FF0000"/>
                </a:solidFill>
              </a:rPr>
              <a:t>60,2%</a:t>
            </a:r>
            <a:endParaRPr lang="lt-LT" sz="3200" b="1" dirty="0">
              <a:solidFill>
                <a:srgbClr val="FF000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791325" y="4380466"/>
            <a:ext cx="9715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FF0000"/>
                </a:solidFill>
              </a:rPr>
              <a:t>10%</a:t>
            </a:r>
            <a:endParaRPr lang="lt-LT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26205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hu-HU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35356" y="34230"/>
            <a:ext cx="8737402" cy="289397"/>
          </a:xfrm>
          <a:prstGeom prst="rect">
            <a:avLst/>
          </a:prstGeom>
        </p:spPr>
        <p:txBody>
          <a:bodyPr lIns="91430" tIns="45715" rIns="91430" bIns="45715"/>
          <a:lstStyle/>
          <a:p>
            <a:pPr algn="ctr" defTabSz="895255" eaLnBrk="0" hangingPunct="0">
              <a:defRPr/>
            </a:pPr>
            <a:r>
              <a:rPr lang="en-US" sz="2400" b="1" kern="0" dirty="0" smtClean="0">
                <a:solidFill>
                  <a:schemeClr val="tx2"/>
                </a:solidFill>
                <a:latin typeface="+mj-lt"/>
              </a:rPr>
              <a:t>RES STRUCTURE</a:t>
            </a:r>
            <a:endParaRPr lang="lt-LT" sz="2400" b="1" kern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-17114" y="1366077"/>
            <a:ext cx="2812897" cy="172354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marL="649220" lvl="2" indent="-563503" algn="just" defTabSz="893668">
              <a:spcBef>
                <a:spcPts val="600"/>
              </a:spcBef>
              <a:buClr>
                <a:schemeClr val="tx2"/>
              </a:buClr>
              <a:buSzPct val="115000"/>
              <a:defRPr/>
            </a:pPr>
            <a:r>
              <a:rPr lang="en-US" sz="1400" b="1" dirty="0">
                <a:solidFill>
                  <a:srgbClr val="002060"/>
                </a:solidFill>
                <a:latin typeface="+mn-lt"/>
                <a:cs typeface="Times New Roman" pitchFamily="18" charset="0"/>
              </a:rPr>
              <a:t>Wind Power Plant Installations:</a:t>
            </a:r>
          </a:p>
          <a:p>
            <a:pPr marL="35996" lvl="2" defTabSz="893668">
              <a:spcBef>
                <a:spcPts val="0"/>
              </a:spcBef>
              <a:buClr>
                <a:schemeClr val="tx2"/>
              </a:buClr>
              <a:buSzPct val="115000"/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srgbClr val="002060"/>
                </a:solidFill>
                <a:latin typeface="+mn-lt"/>
              </a:rPr>
              <a:t> Wind farms up to 6 MW</a:t>
            </a:r>
          </a:p>
          <a:p>
            <a:pPr marL="35996" lvl="2" defTabSz="893668">
              <a:spcBef>
                <a:spcPts val="0"/>
              </a:spcBef>
              <a:buClr>
                <a:schemeClr val="tx2"/>
              </a:buClr>
              <a:buSzPct val="115000"/>
              <a:defRPr/>
            </a:pPr>
            <a:r>
              <a:rPr lang="en-US" sz="1400" dirty="0">
                <a:solidFill>
                  <a:srgbClr val="002060"/>
                </a:solidFill>
                <a:latin typeface="+mn-lt"/>
              </a:rPr>
              <a:t>capacity connected to the distribution grid – </a:t>
            </a:r>
            <a:r>
              <a:rPr lang="en-US" sz="1400" b="1" dirty="0">
                <a:solidFill>
                  <a:srgbClr val="002060"/>
                </a:solidFill>
                <a:latin typeface="+mn-lt"/>
              </a:rPr>
              <a:t>27 MW </a:t>
            </a:r>
            <a:r>
              <a:rPr lang="en-US" sz="1400" dirty="0">
                <a:solidFill>
                  <a:srgbClr val="002060"/>
                </a:solidFill>
                <a:latin typeface="+mn-lt"/>
              </a:rPr>
              <a:t>total capacity (65 units)</a:t>
            </a:r>
          </a:p>
          <a:p>
            <a:pPr marL="35996" lvl="2" defTabSz="893668">
              <a:spcBef>
                <a:spcPts val="0"/>
              </a:spcBef>
              <a:buClr>
                <a:schemeClr val="tx2"/>
              </a:buClr>
              <a:buSzPct val="115000"/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srgbClr val="002060"/>
                </a:solidFill>
                <a:latin typeface="+mn-lt"/>
              </a:rPr>
              <a:t> Wind farms above 6 MW</a:t>
            </a:r>
          </a:p>
          <a:p>
            <a:pPr marL="35996" lvl="2" defTabSz="893668">
              <a:spcBef>
                <a:spcPts val="0"/>
              </a:spcBef>
              <a:buClr>
                <a:schemeClr val="tx2"/>
              </a:buClr>
              <a:buSzPct val="115000"/>
              <a:defRPr/>
            </a:pPr>
            <a:r>
              <a:rPr lang="en-US" sz="1400" dirty="0">
                <a:solidFill>
                  <a:srgbClr val="002060"/>
                </a:solidFill>
                <a:latin typeface="+mn-lt"/>
              </a:rPr>
              <a:t>capacity connected to the transmission grid – </a:t>
            </a:r>
            <a:r>
              <a:rPr lang="en-US" sz="1400" b="1" dirty="0">
                <a:solidFill>
                  <a:srgbClr val="002060"/>
                </a:solidFill>
                <a:latin typeface="+mn-lt"/>
              </a:rPr>
              <a:t>208 MW </a:t>
            </a:r>
            <a:r>
              <a:rPr lang="en-US" sz="1400" dirty="0">
                <a:solidFill>
                  <a:srgbClr val="002060"/>
                </a:solidFill>
                <a:latin typeface="+mn-lt"/>
              </a:rPr>
              <a:t>total capacity (14 units) </a:t>
            </a:r>
            <a:endParaRPr lang="lt-LT" sz="14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7892" name="Rectangle 4"/>
          <p:cNvSpPr>
            <a:spLocks noChangeArrowheads="1"/>
          </p:cNvSpPr>
          <p:nvPr/>
        </p:nvSpPr>
        <p:spPr bwMode="auto">
          <a:xfrm>
            <a:off x="-32673" y="3385633"/>
            <a:ext cx="3312310" cy="307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5" rIns="91430" bIns="45715">
            <a:spAutoFit/>
          </a:bodyPr>
          <a:lstStyle/>
          <a:p>
            <a:r>
              <a:rPr lang="en-US" sz="1400" b="1" dirty="0">
                <a:solidFill>
                  <a:srgbClr val="002060"/>
                </a:solidFill>
              </a:rPr>
              <a:t>Distribution of wind power plants:</a:t>
            </a:r>
            <a:endParaRPr lang="lt-LT" sz="1400" b="1" dirty="0"/>
          </a:p>
        </p:txBody>
      </p:sp>
      <p:pic>
        <p:nvPicPr>
          <p:cNvPr id="3789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2178" t="34978" r="15909" b="21214"/>
          <a:stretch>
            <a:fillRect/>
          </a:stretch>
        </p:blipFill>
        <p:spPr bwMode="auto">
          <a:xfrm>
            <a:off x="-17114" y="3715482"/>
            <a:ext cx="3699706" cy="3005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3066493" y="854188"/>
            <a:ext cx="2577969" cy="1384984"/>
          </a:xfrm>
          <a:prstGeom prst="rect">
            <a:avLst/>
          </a:prstGeom>
          <a:ln w="50800">
            <a:noFill/>
          </a:ln>
        </p:spPr>
        <p:txBody>
          <a:bodyPr lIns="91430" tIns="45715" rIns="91430" bIns="45715">
            <a:spAutoFit/>
          </a:bodyPr>
          <a:lstStyle/>
          <a:p>
            <a:pPr marL="93345" lvl="2" indent="-7779" defTabSz="893668">
              <a:spcBef>
                <a:spcPts val="0"/>
              </a:spcBef>
              <a:buClr>
                <a:schemeClr val="tx2"/>
              </a:buClr>
              <a:buSzPct val="115000"/>
              <a:defRPr/>
            </a:pPr>
            <a:r>
              <a:rPr lang="en-US" sz="1400" b="1" dirty="0">
                <a:solidFill>
                  <a:srgbClr val="002060"/>
                </a:solidFill>
                <a:cs typeface="Times New Roman" pitchFamily="18" charset="0"/>
              </a:rPr>
              <a:t>Biogas and Biomass</a:t>
            </a:r>
            <a:r>
              <a:rPr lang="lt-LT" sz="1400" b="1" dirty="0">
                <a:solidFill>
                  <a:srgbClr val="002060"/>
                </a:solidFill>
                <a:cs typeface="Times New Roman" pitchFamily="18" charset="0"/>
              </a:rPr>
              <a:t> </a:t>
            </a:r>
            <a:r>
              <a:rPr lang="en-US" sz="1400" b="1" dirty="0">
                <a:solidFill>
                  <a:srgbClr val="002060"/>
                </a:solidFill>
                <a:cs typeface="Times New Roman" pitchFamily="18" charset="0"/>
              </a:rPr>
              <a:t>Installations:</a:t>
            </a:r>
          </a:p>
          <a:p>
            <a:pPr marL="35996" lvl="2" defTabSz="893668">
              <a:spcBef>
                <a:spcPts val="0"/>
              </a:spcBef>
              <a:buClr>
                <a:schemeClr val="tx2"/>
              </a:buClr>
              <a:buSzPct val="115000"/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srgbClr val="002060"/>
                </a:solidFill>
              </a:rPr>
              <a:t> Biomass power plants – total capacity </a:t>
            </a:r>
            <a:r>
              <a:rPr lang="en-US" sz="1400" b="1" dirty="0">
                <a:solidFill>
                  <a:srgbClr val="002060"/>
                </a:solidFill>
              </a:rPr>
              <a:t>56 MW </a:t>
            </a:r>
            <a:r>
              <a:rPr lang="en-US" sz="1400" dirty="0">
                <a:solidFill>
                  <a:srgbClr val="002060"/>
                </a:solidFill>
              </a:rPr>
              <a:t>(9 units)</a:t>
            </a:r>
          </a:p>
          <a:p>
            <a:pPr marL="35996" lvl="2" defTabSz="893668">
              <a:spcBef>
                <a:spcPts val="0"/>
              </a:spcBef>
              <a:buClr>
                <a:schemeClr val="tx2"/>
              </a:buClr>
              <a:buSzPct val="115000"/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srgbClr val="002060"/>
                </a:solidFill>
              </a:rPr>
              <a:t> Biogas power plants – total capacity </a:t>
            </a:r>
            <a:r>
              <a:rPr lang="en-US" sz="1400" b="1" dirty="0">
                <a:solidFill>
                  <a:srgbClr val="002060"/>
                </a:solidFill>
              </a:rPr>
              <a:t>18,4 MW </a:t>
            </a:r>
            <a:r>
              <a:rPr lang="en-US" sz="1400" dirty="0">
                <a:solidFill>
                  <a:srgbClr val="002060"/>
                </a:solidFill>
              </a:rPr>
              <a:t>(19 units)</a:t>
            </a:r>
            <a:endParaRPr lang="lt-LT" sz="1400" dirty="0">
              <a:solidFill>
                <a:srgbClr val="002060"/>
              </a:solidFill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6094089" y="793507"/>
            <a:ext cx="2817563" cy="1076681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marL="649220" lvl="2" indent="-563503" algn="just" defTabSz="893668">
              <a:spcBef>
                <a:spcPts val="0"/>
              </a:spcBef>
              <a:buClr>
                <a:schemeClr val="tx2"/>
              </a:buClr>
              <a:buSzPct val="115000"/>
              <a:defRPr/>
            </a:pPr>
            <a:r>
              <a:rPr lang="en-US" sz="1400" b="1" dirty="0">
                <a:solidFill>
                  <a:srgbClr val="002060"/>
                </a:solidFill>
                <a:latin typeface="+mn-lt"/>
                <a:cs typeface="Times New Roman" pitchFamily="18" charset="0"/>
              </a:rPr>
              <a:t>Hydro Power Plant Installations:</a:t>
            </a:r>
            <a:endParaRPr lang="lt-LT" sz="1400" b="1" dirty="0">
              <a:solidFill>
                <a:srgbClr val="002060"/>
              </a:solidFill>
              <a:latin typeface="+mn-lt"/>
              <a:cs typeface="Times New Roman" pitchFamily="18" charset="0"/>
            </a:endParaRPr>
          </a:p>
          <a:p>
            <a:pPr marL="35996" lvl="2" defTabSz="893668">
              <a:spcBef>
                <a:spcPts val="0"/>
              </a:spcBef>
              <a:buClr>
                <a:schemeClr val="tx2"/>
              </a:buClr>
              <a:buSzPct val="115000"/>
              <a:buFontTx/>
              <a:buChar char="•"/>
              <a:defRPr/>
            </a:pPr>
            <a:r>
              <a:rPr lang="en-US" sz="1400" dirty="0">
                <a:solidFill>
                  <a:srgbClr val="002060"/>
                </a:solidFill>
                <a:latin typeface="+mn-lt"/>
              </a:rPr>
              <a:t> Small HPP – </a:t>
            </a:r>
            <a:r>
              <a:rPr lang="en-US" sz="1400" b="1" dirty="0">
                <a:solidFill>
                  <a:srgbClr val="002060"/>
                </a:solidFill>
                <a:latin typeface="+mn-lt"/>
              </a:rPr>
              <a:t>26,8 </a:t>
            </a:r>
            <a:r>
              <a:rPr lang="en-US" sz="1400" dirty="0">
                <a:solidFill>
                  <a:srgbClr val="002060"/>
                </a:solidFill>
                <a:latin typeface="+mn-lt"/>
              </a:rPr>
              <a:t>MW total capacity (96 units)</a:t>
            </a:r>
          </a:p>
          <a:p>
            <a:pPr marL="35996" lvl="2" defTabSz="893668">
              <a:spcBef>
                <a:spcPts val="0"/>
              </a:spcBef>
              <a:buClr>
                <a:schemeClr val="tx2"/>
              </a:buClr>
              <a:buSzPct val="115000"/>
              <a:buFontTx/>
              <a:buChar char="•"/>
              <a:defRPr/>
            </a:pPr>
            <a:r>
              <a:rPr lang="en-US" sz="1400" dirty="0">
                <a:solidFill>
                  <a:srgbClr val="002060"/>
                </a:solidFill>
                <a:latin typeface="+mn-lt"/>
              </a:rPr>
              <a:t> Kaunas HPP </a:t>
            </a:r>
            <a:r>
              <a:rPr lang="en-US" sz="1400" b="1" dirty="0">
                <a:solidFill>
                  <a:srgbClr val="002060"/>
                </a:solidFill>
                <a:latin typeface="+mn-lt"/>
              </a:rPr>
              <a:t>– 102 MW </a:t>
            </a:r>
            <a:r>
              <a:rPr lang="en-US" sz="1400" dirty="0">
                <a:solidFill>
                  <a:srgbClr val="002060"/>
                </a:solidFill>
                <a:latin typeface="+mn-lt"/>
              </a:rPr>
              <a:t>total capacity, (1 unit)</a:t>
            </a:r>
            <a:endParaRPr lang="lt-LT" sz="14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7896" name="Rectangle 6"/>
          <p:cNvSpPr>
            <a:spLocks noChangeArrowheads="1"/>
          </p:cNvSpPr>
          <p:nvPr/>
        </p:nvSpPr>
        <p:spPr bwMode="auto">
          <a:xfrm>
            <a:off x="5644462" y="1952652"/>
            <a:ext cx="3239186" cy="338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5" rIns="91430" bIns="45715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 </a:t>
            </a:r>
            <a:r>
              <a:rPr lang="en-US" sz="1400" b="1" dirty="0">
                <a:solidFill>
                  <a:srgbClr val="002060"/>
                </a:solidFill>
              </a:rPr>
              <a:t>Distribution of hydro power plants</a:t>
            </a:r>
            <a:endParaRPr lang="lt-LT" sz="1400" b="1" dirty="0"/>
          </a:p>
        </p:txBody>
      </p:sp>
      <p:pic>
        <p:nvPicPr>
          <p:cNvPr id="37897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493" t="34679" r="19019" b="19421"/>
          <a:stretch>
            <a:fillRect/>
          </a:stretch>
        </p:blipFill>
        <p:spPr bwMode="auto">
          <a:xfrm>
            <a:off x="5375308" y="2346293"/>
            <a:ext cx="3508340" cy="2739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3713708" y="5356954"/>
            <a:ext cx="5159050" cy="1229159"/>
          </a:xfrm>
          <a:prstGeom prst="rect">
            <a:avLst/>
          </a:prstGeom>
          <a:noFill/>
          <a:ln w="50800">
            <a:noFill/>
          </a:ln>
          <a:extLst/>
        </p:spPr>
        <p:txBody>
          <a:bodyPr lIns="0" tIns="0" rIns="0" bIns="0">
            <a:spAutoFit/>
          </a:bodyPr>
          <a:lstStyle/>
          <a:p>
            <a:pPr marL="649220" lvl="2" indent="-563503" algn="just" defTabSz="893668">
              <a:spcBef>
                <a:spcPts val="600"/>
              </a:spcBef>
              <a:buClr>
                <a:schemeClr val="tx2"/>
              </a:buClr>
              <a:buSzPct val="115000"/>
              <a:defRPr/>
            </a:pPr>
            <a:r>
              <a:rPr lang="en-US" sz="1400" b="1" dirty="0">
                <a:solidFill>
                  <a:srgbClr val="002060"/>
                </a:solidFill>
                <a:latin typeface="+mn-lt"/>
                <a:cs typeface="Times New Roman" pitchFamily="18" charset="0"/>
              </a:rPr>
              <a:t>Photovoltaic Power Plant Installations:</a:t>
            </a:r>
            <a:endParaRPr lang="lt-LT" sz="1400" b="1" dirty="0">
              <a:solidFill>
                <a:srgbClr val="002060"/>
              </a:solidFill>
              <a:latin typeface="+mn-lt"/>
              <a:cs typeface="Times New Roman" pitchFamily="18" charset="0"/>
            </a:endParaRPr>
          </a:p>
          <a:p>
            <a:pPr marL="35996" lvl="2" defTabSz="893668">
              <a:spcBef>
                <a:spcPts val="600"/>
              </a:spcBef>
              <a:buClr>
                <a:schemeClr val="tx2"/>
              </a:buClr>
              <a:buSzPct val="115000"/>
              <a:buFontTx/>
              <a:buChar char="•"/>
              <a:defRPr/>
            </a:pPr>
            <a:r>
              <a:rPr lang="en-US" sz="1400" dirty="0">
                <a:solidFill>
                  <a:srgbClr val="002060"/>
                </a:solidFill>
                <a:latin typeface="+mn-lt"/>
              </a:rPr>
              <a:t>PV power plants up to 30 kW capacity – </a:t>
            </a:r>
            <a:r>
              <a:rPr lang="en-US" sz="1400" b="1" dirty="0">
                <a:solidFill>
                  <a:srgbClr val="002060"/>
                </a:solidFill>
                <a:latin typeface="+mn-lt"/>
              </a:rPr>
              <a:t>36,4 MW</a:t>
            </a:r>
            <a:r>
              <a:rPr lang="en-US" sz="1400" dirty="0">
                <a:solidFill>
                  <a:srgbClr val="002060"/>
                </a:solidFill>
                <a:latin typeface="+mn-lt"/>
              </a:rPr>
              <a:t> total capacity (1331 unit)</a:t>
            </a:r>
          </a:p>
          <a:p>
            <a:pPr marL="35996" lvl="2" defTabSz="893668">
              <a:spcBef>
                <a:spcPts val="600"/>
              </a:spcBef>
              <a:buClr>
                <a:schemeClr val="tx2"/>
              </a:buClr>
              <a:buSzPct val="115000"/>
              <a:buFontTx/>
              <a:buChar char="•"/>
              <a:defRPr/>
            </a:pPr>
            <a:r>
              <a:rPr lang="en-US" sz="1400" dirty="0">
                <a:solidFill>
                  <a:srgbClr val="002060"/>
                </a:solidFill>
                <a:latin typeface="+mn-lt"/>
              </a:rPr>
              <a:t>PV power plants above 30 kW capacity – </a:t>
            </a:r>
            <a:r>
              <a:rPr lang="en-US" sz="1400" b="1" dirty="0">
                <a:solidFill>
                  <a:srgbClr val="002060"/>
                </a:solidFill>
                <a:latin typeface="+mn-lt"/>
              </a:rPr>
              <a:t>9,7 M</a:t>
            </a:r>
            <a:r>
              <a:rPr lang="en-US" sz="1400" dirty="0">
                <a:solidFill>
                  <a:srgbClr val="002060"/>
                </a:solidFill>
                <a:latin typeface="+mn-lt"/>
              </a:rPr>
              <a:t>W total capacity (29 units), largest power plant – 2,56MW capacity.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-32672" y="1243162"/>
            <a:ext cx="2812897" cy="2114464"/>
          </a:xfrm>
          <a:prstGeom prst="roundRect">
            <a:avLst>
              <a:gd name="adj" fmla="val 11102"/>
            </a:avLst>
          </a:prstGeom>
          <a:noFill/>
          <a:ln w="50800" cmpd="tri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>
              <a:defRPr/>
            </a:pPr>
            <a:endParaRPr lang="lt-LT" dirty="0"/>
          </a:p>
        </p:txBody>
      </p:sp>
      <p:sp>
        <p:nvSpPr>
          <p:cNvPr id="7" name="Rounded Rectangle 6"/>
          <p:cNvSpPr/>
          <p:nvPr/>
        </p:nvSpPr>
        <p:spPr>
          <a:xfrm>
            <a:off x="3066493" y="847965"/>
            <a:ext cx="2577969" cy="1364521"/>
          </a:xfrm>
          <a:prstGeom prst="roundRect">
            <a:avLst/>
          </a:prstGeom>
          <a:noFill/>
          <a:ln w="50800" cmpd="tri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>
              <a:defRPr/>
            </a:pPr>
            <a:endParaRPr lang="lt-LT" dirty="0"/>
          </a:p>
        </p:txBody>
      </p:sp>
      <p:sp>
        <p:nvSpPr>
          <p:cNvPr id="8" name="Rounded Rectangle 7"/>
          <p:cNvSpPr/>
          <p:nvPr/>
        </p:nvSpPr>
        <p:spPr>
          <a:xfrm>
            <a:off x="3724598" y="5227814"/>
            <a:ext cx="5159050" cy="1358299"/>
          </a:xfrm>
          <a:prstGeom prst="roundRect">
            <a:avLst/>
          </a:prstGeom>
          <a:noFill/>
          <a:ln cmpd="tri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>
              <a:defRPr/>
            </a:pPr>
            <a:r>
              <a:rPr lang="en-US" dirty="0"/>
              <a:t>4</a:t>
            </a:r>
            <a:endParaRPr lang="lt-LT" dirty="0"/>
          </a:p>
        </p:txBody>
      </p:sp>
      <p:sp>
        <p:nvSpPr>
          <p:cNvPr id="15" name="Rounded Rectangle 14"/>
          <p:cNvSpPr/>
          <p:nvPr/>
        </p:nvSpPr>
        <p:spPr>
          <a:xfrm>
            <a:off x="6048971" y="717269"/>
            <a:ext cx="2817564" cy="1229159"/>
          </a:xfrm>
          <a:prstGeom prst="roundRect">
            <a:avLst/>
          </a:prstGeom>
          <a:noFill/>
          <a:ln w="508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>
              <a:defRPr/>
            </a:pP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xmlns="" val="10553384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Diagrama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3040754"/>
              </p:ext>
            </p:extLst>
          </p:nvPr>
        </p:nvGraphicFramePr>
        <p:xfrm>
          <a:off x="185519" y="2214421"/>
          <a:ext cx="8568952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itle 1"/>
          <p:cNvSpPr txBox="1">
            <a:spLocks/>
          </p:cNvSpPr>
          <p:nvPr/>
        </p:nvSpPr>
        <p:spPr>
          <a:xfrm>
            <a:off x="160338" y="187325"/>
            <a:ext cx="8029575" cy="762000"/>
          </a:xfrm>
          <a:prstGeom prst="rect">
            <a:avLst/>
          </a:prstGeom>
          <a:noFill/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400" b="1" dirty="0" smtClean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rPr>
              <a:t>BIOMASS POTENTIAL</a:t>
            </a:r>
            <a:endParaRPr lang="en-US" sz="2400" b="1" dirty="0">
              <a:solidFill>
                <a:schemeClr val="tx2"/>
              </a:solidFill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6" name="TextBox 5"/>
          <p:cNvSpPr txBox="1">
            <a:spLocks noChangeArrowheads="1"/>
          </p:cNvSpPr>
          <p:nvPr/>
        </p:nvSpPr>
        <p:spPr bwMode="auto">
          <a:xfrm>
            <a:off x="2320925" y="4724400"/>
            <a:ext cx="1963738" cy="707886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1200" b="1" dirty="0" smtClean="0"/>
              <a:t>CHS sector for heat and electricity production </a:t>
            </a:r>
            <a:r>
              <a:rPr lang="lt-LT" sz="1600" b="1" dirty="0" smtClean="0"/>
              <a:t>~720</a:t>
            </a:r>
            <a:r>
              <a:rPr lang="en-US" sz="1600" b="1" dirty="0" smtClean="0"/>
              <a:t> Ktnoe</a:t>
            </a:r>
            <a:endParaRPr lang="lt-LT" sz="1600" b="1" dirty="0"/>
          </a:p>
        </p:txBody>
      </p:sp>
      <p:pic>
        <p:nvPicPr>
          <p:cNvPr id="17" name="Picture 2" descr="\\sefile\Users\aleksas.jakstas\+LITBIOMA\Foto\siaudai-biokuras_1 (1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02025" y="1436688"/>
            <a:ext cx="1331913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0" descr="http://t3.gstatic.com/images?q=tbn:ANd9GcTKszhigvPeSC50qcjZGBinkbOend8TIAiDEd08oPSv7pTk0N2C3Q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70113" y="1436688"/>
            <a:ext cx="1331912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6" descr="http://t1.gstatic.com/images?q=tbn:ANd9GcSGFK_h5-b5nOC4KvrupmnF5iBamRivQGgY1FDdHXb5AuJmJikV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4213" y="1452563"/>
            <a:ext cx="1495425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 descr="http://t1.gstatic.com/images?q=tbn:ANd9GcQM-JRd0i1nZ8vG6fBjdcs6cG5z57pUL5GiPaN41KttL1qDI-kh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85050" y="1452563"/>
            <a:ext cx="1331913" cy="919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t2.gstatic.com/images?q=tbn:ANd9GcTrI43vYlG_RnPup1cRMxkio3xB2k938eTzUc44xfX3csGfKlB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33938" y="1439863"/>
            <a:ext cx="1292225" cy="919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6" descr="http://t2.gstatic.com/images?q=tbn:ANd9GcQKhW93QMT-8O0PBljIWNWCOWz-yZnSeAXB5zXjf5C5IerK6JXV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26163" y="1439863"/>
            <a:ext cx="1258887" cy="919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Dešinysis riestinis skliaustas 15"/>
          <p:cNvSpPr/>
          <p:nvPr/>
        </p:nvSpPr>
        <p:spPr>
          <a:xfrm rot="5400000">
            <a:off x="4389437" y="-1357312"/>
            <a:ext cx="620713" cy="8034338"/>
          </a:xfrm>
          <a:prstGeom prst="rightBrace">
            <a:avLst>
              <a:gd name="adj1" fmla="val 8333"/>
              <a:gd name="adj2" fmla="val 40540"/>
            </a:avLst>
          </a:prstGeom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lt-LT" dirty="0"/>
          </a:p>
        </p:txBody>
      </p:sp>
      <p:sp>
        <p:nvSpPr>
          <p:cNvPr id="2" name="TextBox 1"/>
          <p:cNvSpPr txBox="1"/>
          <p:nvPr/>
        </p:nvSpPr>
        <p:spPr>
          <a:xfrm>
            <a:off x="1017586" y="5155198"/>
            <a:ext cx="13033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consumption</a:t>
            </a:r>
            <a:endParaRPr lang="lt-LT" b="1" dirty="0"/>
          </a:p>
        </p:txBody>
      </p:sp>
    </p:spTree>
    <p:extLst>
      <p:ext uri="{BB962C8B-B14F-4D97-AF65-F5344CB8AC3E}">
        <p14:creationId xmlns:p14="http://schemas.microsoft.com/office/powerpoint/2010/main" xmlns="" val="21768229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738664"/>
          </a:xfrm>
        </p:spPr>
        <p:txBody>
          <a:bodyPr/>
          <a:lstStyle/>
          <a:p>
            <a:pPr algn="ctr"/>
            <a:r>
              <a:rPr lang="en-US" sz="2400" dirty="0">
                <a:solidFill>
                  <a:schemeClr val="tx2"/>
                </a:solidFill>
              </a:rPr>
              <a:t>S</a:t>
            </a:r>
            <a:r>
              <a:rPr lang="en-US" sz="2400" dirty="0" smtClean="0">
                <a:solidFill>
                  <a:schemeClr val="tx2"/>
                </a:solidFill>
              </a:rPr>
              <a:t>ervices meeting public interest fee for year 2013</a:t>
            </a:r>
            <a:br>
              <a:rPr lang="en-US" sz="2400" dirty="0" smtClean="0">
                <a:solidFill>
                  <a:schemeClr val="tx2"/>
                </a:solidFill>
              </a:rPr>
            </a:br>
            <a:r>
              <a:rPr lang="en-US" sz="2400" dirty="0" smtClean="0">
                <a:solidFill>
                  <a:srgbClr val="FF0000"/>
                </a:solidFill>
              </a:rPr>
              <a:t>Totally 9,377 ct.</a:t>
            </a:r>
            <a:endParaRPr lang="lt-LT" sz="2400" dirty="0">
              <a:solidFill>
                <a:srgbClr val="FF0000"/>
              </a:solidFill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623157521"/>
              </p:ext>
            </p:extLst>
          </p:nvPr>
        </p:nvGraphicFramePr>
        <p:xfrm>
          <a:off x="1108869" y="1055687"/>
          <a:ext cx="6743700" cy="461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7339725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517796"/>
            <a:ext cx="8618537" cy="369332"/>
          </a:xfrm>
        </p:spPr>
        <p:txBody>
          <a:bodyPr/>
          <a:lstStyle/>
          <a:p>
            <a:pPr algn="ctr"/>
            <a:r>
              <a:rPr lang="en-US" sz="2400" dirty="0" smtClean="0">
                <a:solidFill>
                  <a:srgbClr val="002060"/>
                </a:solidFill>
              </a:rPr>
              <a:t>EU ELECTRICITY PRICES FOR DOMESTIC USERS</a:t>
            </a:r>
            <a:endParaRPr lang="lt-LT" sz="2400" dirty="0">
              <a:solidFill>
                <a:srgbClr val="002060"/>
              </a:solidFill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610910797"/>
              </p:ext>
            </p:extLst>
          </p:nvPr>
        </p:nvGraphicFramePr>
        <p:xfrm>
          <a:off x="461169" y="831851"/>
          <a:ext cx="8039100" cy="4197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954936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6160&quot;&gt;&lt;version val=&quot;1798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3.43900000000000010000E+000&quot;&gt;&lt;m_ppcolschidx val=&quot;0&quot;/&gt;&lt;m_rgb r=&quot;88&quot; g=&quot;b6&quot; b=&quot;56&quot;/&gt;&lt;/elem&gt;&lt;elem m_fUsage=&quot;1.60022790000000010000E+000&quot;&gt;&lt;m_ppcolschidx val=&quot;0&quot;/&gt;&lt;m_rgb r=&quot;b1&quot; g=&quot;cf&quot; b=&quot;90&quot;/&gt;&lt;/elem&gt;&lt;elem m_fUsage=&quot;6.56100000000000130000E-001&quot;&gt;&lt;m_ppcolschidx val=&quot;0&quot;/&gt;&lt;m_rgb r=&quot;b1&quot; g=&quot;cf&quot; b=&quot;8d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76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3KPJrUtkussa4nt.vP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wxMvbDL06jI_D.Jeyn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ovEbpv4K_06LLN.KWoY.qw"/>
</p:tagLst>
</file>

<file path=ppt/theme/theme1.xml><?xml version="1.0" encoding="utf-8"?>
<a:theme xmlns:a="http://schemas.openxmlformats.org/drawingml/2006/main" name="LIL">
  <a:themeElements>
    <a:clrScheme name="Custom 6">
      <a:dk1>
        <a:srgbClr val="000000"/>
      </a:dk1>
      <a:lt1>
        <a:srgbClr val="FFFFFF"/>
      </a:lt1>
      <a:dk2>
        <a:srgbClr val="385D8A"/>
      </a:dk2>
      <a:lt2>
        <a:srgbClr val="FFFFFF"/>
      </a:lt2>
      <a:accent1>
        <a:srgbClr val="B2B2B2"/>
      </a:accent1>
      <a:accent2>
        <a:srgbClr val="C4E59F"/>
      </a:accent2>
      <a:accent3>
        <a:srgbClr val="FFFFFF"/>
      </a:accent3>
      <a:accent4>
        <a:srgbClr val="000000"/>
      </a:accent4>
      <a:accent5>
        <a:srgbClr val="D5D5D5"/>
      </a:accent5>
      <a:accent6>
        <a:srgbClr val="B1CF90"/>
      </a:accent6>
      <a:hlink>
        <a:srgbClr val="294567"/>
      </a:hlink>
      <a:folHlink>
        <a:srgbClr val="C00000"/>
      </a:folHlink>
    </a:clrScheme>
    <a:fontScheme name="LIL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LIL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4F81BD"/>
        </a:accent1>
        <a:accent2>
          <a:srgbClr val="CC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B9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4F81BD"/>
        </a:accent1>
        <a:accent2>
          <a:srgbClr val="92D05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84BC48"/>
        </a:accent6>
        <a:hlink>
          <a:srgbClr val="CC0000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4F81BD"/>
        </a:accent1>
        <a:accent2>
          <a:srgbClr val="CC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B9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4F81BD"/>
        </a:accent1>
        <a:accent2>
          <a:srgbClr val="92D05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84BC48"/>
        </a:accent6>
        <a:hlink>
          <a:srgbClr val="CC0000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7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B2B2B2"/>
        </a:accent1>
        <a:accent2>
          <a:srgbClr val="C4E59F"/>
        </a:accent2>
        <a:accent3>
          <a:srgbClr val="FFFFFF"/>
        </a:accent3>
        <a:accent4>
          <a:srgbClr val="000000"/>
        </a:accent4>
        <a:accent5>
          <a:srgbClr val="D5D5D5"/>
        </a:accent5>
        <a:accent6>
          <a:srgbClr val="B1CF90"/>
        </a:accent6>
        <a:hlink>
          <a:srgbClr val="CC0000"/>
        </a:hlink>
        <a:folHlink>
          <a:srgbClr val="B66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8">
        <a:dk1>
          <a:srgbClr val="000000"/>
        </a:dk1>
        <a:lt1>
          <a:srgbClr val="FFFFFF"/>
        </a:lt1>
        <a:dk2>
          <a:srgbClr val="00214C"/>
        </a:dk2>
        <a:lt2>
          <a:srgbClr val="FFFFFF"/>
        </a:lt2>
        <a:accent1>
          <a:srgbClr val="B2B2B2"/>
        </a:accent1>
        <a:accent2>
          <a:srgbClr val="C4E59F"/>
        </a:accent2>
        <a:accent3>
          <a:srgbClr val="FFFFFF"/>
        </a:accent3>
        <a:accent4>
          <a:srgbClr val="000000"/>
        </a:accent4>
        <a:accent5>
          <a:srgbClr val="D5D5D5"/>
        </a:accent5>
        <a:accent6>
          <a:srgbClr val="B1CF90"/>
        </a:accent6>
        <a:hlink>
          <a:srgbClr val="CC0000"/>
        </a:hlink>
        <a:folHlink>
          <a:srgbClr val="B66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IL 9">
        <a:dk1>
          <a:srgbClr val="000000"/>
        </a:dk1>
        <a:lt1>
          <a:srgbClr val="FFFFFF"/>
        </a:lt1>
        <a:dk2>
          <a:srgbClr val="385D8A"/>
        </a:dk2>
        <a:lt2>
          <a:srgbClr val="FFFFFF"/>
        </a:lt2>
        <a:accent1>
          <a:srgbClr val="B2B2B2"/>
        </a:accent1>
        <a:accent2>
          <a:srgbClr val="C4E59F"/>
        </a:accent2>
        <a:accent3>
          <a:srgbClr val="FFFFFF"/>
        </a:accent3>
        <a:accent4>
          <a:srgbClr val="000000"/>
        </a:accent4>
        <a:accent5>
          <a:srgbClr val="D5D5D5"/>
        </a:accent5>
        <a:accent6>
          <a:srgbClr val="B1CF90"/>
        </a:accent6>
        <a:hlink>
          <a:srgbClr val="CC0000"/>
        </a:hlink>
        <a:folHlink>
          <a:srgbClr val="A5558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LIL</Template>
  <TotalTime>6046</TotalTime>
  <Words>329</Words>
  <Application>Microsoft Office PowerPoint</Application>
  <PresentationFormat>Egyéni</PresentationFormat>
  <Paragraphs>90</Paragraphs>
  <Slides>13</Slides>
  <Notes>2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3</vt:i4>
      </vt:variant>
    </vt:vector>
  </HeadingPairs>
  <TitlesOfParts>
    <vt:vector size="15" baseType="lpstr">
      <vt:lpstr>LIL</vt:lpstr>
      <vt:lpstr>think-cell Slide</vt:lpstr>
      <vt:lpstr>0. dia</vt:lpstr>
      <vt:lpstr>TARGETS FOR YEAR 2020</vt:lpstr>
      <vt:lpstr>CURRENT SITUATION</vt:lpstr>
      <vt:lpstr>RES PERSPECTIVES FOR YEAR 2020</vt:lpstr>
      <vt:lpstr>4. dia</vt:lpstr>
      <vt:lpstr>5. dia</vt:lpstr>
      <vt:lpstr>6. dia</vt:lpstr>
      <vt:lpstr>Services meeting public interest fee for year 2013 Totally 9,377 ct.</vt:lpstr>
      <vt:lpstr>EU ELECTRICITY PRICES FOR DOMESTIC USERS</vt:lpstr>
      <vt:lpstr>EU ELECTRICITY PRICES FOR DOMESTIC USERS</vt:lpstr>
      <vt:lpstr>RES DEVELOPMENT PROBLEMS</vt:lpstr>
      <vt:lpstr>RES POSIBILITIES</vt:lpstr>
      <vt:lpstr>12. dia</vt:lpstr>
    </vt:vector>
  </TitlesOfParts>
  <Company>Corporat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dating the Lithuanian Energy Strategy to the year 2050</dc:title>
  <dc:creator>Zygimantas Vaiciunas</dc:creator>
  <cp:lastModifiedBy>Terbe Zoltán</cp:lastModifiedBy>
  <cp:revision>636</cp:revision>
  <cp:lastPrinted>2011-02-09T11:54:26Z</cp:lastPrinted>
  <dcterms:created xsi:type="dcterms:W3CDTF">2010-08-13T09:07:42Z</dcterms:created>
  <dcterms:modified xsi:type="dcterms:W3CDTF">2013-10-08T08:2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false</vt:bool>
  </property>
  <property fmtid="{D5CDD505-2E9C-101B-9397-08002B2CF9AE}" pid="6" name="Title">
    <vt:lpwstr>Updating the Lithuanian Energy Strategy to the year 2050</vt:lpwstr>
  </property>
  <property fmtid="{D5CDD505-2E9C-101B-9397-08002B2CF9AE}" pid="7" name="Event">
    <vt:lpwstr/>
  </property>
  <property fmtid="{D5CDD505-2E9C-101B-9397-08002B2CF9AE}" pid="8" name="Delivery Date">
    <vt:lpwstr/>
  </property>
  <property fmtid="{D5CDD505-2E9C-101B-9397-08002B2CF9AE}" pid="9" name="DocID">
    <vt:lpwstr>PRA-LIL003-20100812-22324P1E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